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s/slide5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docProps/custom.xml" ContentType="application/vnd.openxmlformats-officedocument.custom-properties+xml"/>
  <Override PartName="/ppt/diagrams/layout1.xml" ContentType="application/vnd.openxmlformats-officedocument.drawingml.diagramLayout+xml"/>
  <Override PartName="/ppt/tags/tag12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48.xml" ContentType="application/vnd.openxmlformats-officedocument.presentationml.slide+xml"/>
  <Override PartName="/ppt/slides/slide57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Default Extension="bin" ContentType="application/vnd.openxmlformats-officedocument.oleObject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46.xml" ContentType="application/vnd.openxmlformats-officedocument.presentationml.slide+xml"/>
  <Override PartName="/ppt/slides/slide55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Override PartName="/ppt/slides/slide53.xml" ContentType="application/vnd.openxmlformats-officedocument.presentationml.slide+xml"/>
  <Override PartName="/ppt/slides/slide62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diagrams/quickStyle1.xml" ContentType="application/vnd.openxmlformats-officedocument.drawingml.diagramStyle+xml"/>
  <Override PartName="/ppt/tags/tag3.xml" ContentType="application/vnd.openxmlformats-officedocument.presentationml.tags+xml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51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13.xml" ContentType="application/vnd.openxmlformats-officedocument.presentationml.tags+xml"/>
  <Override PartName="/ppt/slides/slide8.xml" ContentType="application/vnd.openxmlformats-officedocument.presentationml.slide+xml"/>
  <Override PartName="/ppt/slides/slide49.xml" ContentType="application/vnd.openxmlformats-officedocument.presentationml.slide+xml"/>
  <Override PartName="/ppt/diagrams/data1.xml" ContentType="application/vnd.openxmlformats-officedocument.drawingml.diagramData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diagrams/colors1.xml" ContentType="application/vnd.openxmlformats-officedocument.drawingml.diagramColors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Layouts/slideLayout22.xml" ContentType="application/vnd.openxmlformats-officedocument.presentationml.slideLayout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14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986" r:id="rId2"/>
  </p:sldMasterIdLst>
  <p:notesMasterIdLst>
    <p:notesMasterId r:id="rId65"/>
  </p:notesMasterIdLst>
  <p:sldIdLst>
    <p:sldId id="1505" r:id="rId3"/>
    <p:sldId id="1709" r:id="rId4"/>
    <p:sldId id="1710" r:id="rId5"/>
    <p:sldId id="1736" r:id="rId6"/>
    <p:sldId id="1711" r:id="rId7"/>
    <p:sldId id="1712" r:id="rId8"/>
    <p:sldId id="1713" r:id="rId9"/>
    <p:sldId id="1714" r:id="rId10"/>
    <p:sldId id="1715" r:id="rId11"/>
    <p:sldId id="1734" r:id="rId12"/>
    <p:sldId id="1716" r:id="rId13"/>
    <p:sldId id="1744" r:id="rId14"/>
    <p:sldId id="1745" r:id="rId15"/>
    <p:sldId id="1746" r:id="rId16"/>
    <p:sldId id="1748" r:id="rId17"/>
    <p:sldId id="1749" r:id="rId18"/>
    <p:sldId id="1717" r:id="rId19"/>
    <p:sldId id="1718" r:id="rId20"/>
    <p:sldId id="1719" r:id="rId21"/>
    <p:sldId id="1513" r:id="rId22"/>
    <p:sldId id="1514" r:id="rId23"/>
    <p:sldId id="1722" r:id="rId24"/>
    <p:sldId id="1742" r:id="rId25"/>
    <p:sldId id="1743" r:id="rId26"/>
    <p:sldId id="1751" r:id="rId27"/>
    <p:sldId id="1620" r:id="rId28"/>
    <p:sldId id="1649" r:id="rId29"/>
    <p:sldId id="1724" r:id="rId30"/>
    <p:sldId id="1530" r:id="rId31"/>
    <p:sldId id="1673" r:id="rId32"/>
    <p:sldId id="1674" r:id="rId33"/>
    <p:sldId id="1675" r:id="rId34"/>
    <p:sldId id="1676" r:id="rId35"/>
    <p:sldId id="1677" r:id="rId36"/>
    <p:sldId id="1737" r:id="rId37"/>
    <p:sldId id="1553" r:id="rId38"/>
    <p:sldId id="1678" r:id="rId39"/>
    <p:sldId id="1679" r:id="rId40"/>
    <p:sldId id="1680" r:id="rId41"/>
    <p:sldId id="1681" r:id="rId42"/>
    <p:sldId id="1682" r:id="rId43"/>
    <p:sldId id="1683" r:id="rId44"/>
    <p:sldId id="1685" r:id="rId45"/>
    <p:sldId id="1688" r:id="rId46"/>
    <p:sldId id="1726" r:id="rId47"/>
    <p:sldId id="1739" r:id="rId48"/>
    <p:sldId id="1617" r:id="rId49"/>
    <p:sldId id="1727" r:id="rId50"/>
    <p:sldId id="1752" r:id="rId51"/>
    <p:sldId id="1662" r:id="rId52"/>
    <p:sldId id="1663" r:id="rId53"/>
    <p:sldId id="1665" r:id="rId54"/>
    <p:sldId id="1666" r:id="rId55"/>
    <p:sldId id="1667" r:id="rId56"/>
    <p:sldId id="1668" r:id="rId57"/>
    <p:sldId id="1605" r:id="rId58"/>
    <p:sldId id="1728" r:id="rId59"/>
    <p:sldId id="1729" r:id="rId60"/>
    <p:sldId id="1750" r:id="rId61"/>
    <p:sldId id="1731" r:id="rId62"/>
    <p:sldId id="1732" r:id="rId63"/>
    <p:sldId id="1733" r:id="rId64"/>
  </p:sldIdLst>
  <p:sldSz cx="9144000" cy="6858000" type="screen4x3"/>
  <p:notesSz cx="6858000" cy="9144000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66"/>
    <a:srgbClr val="7C5989"/>
    <a:srgbClr val="274E75"/>
    <a:srgbClr val="384E64"/>
    <a:srgbClr val="A8EEFE"/>
    <a:srgbClr val="96EAFE"/>
    <a:srgbClr val="4D6B89"/>
    <a:srgbClr val="5F5F5F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15619" autoAdjust="0"/>
    <p:restoredTop sz="94664" autoAdjust="0"/>
  </p:normalViewPr>
  <p:slideViewPr>
    <p:cSldViewPr>
      <p:cViewPr varScale="1">
        <p:scale>
          <a:sx n="41" d="100"/>
          <a:sy n="41" d="100"/>
        </p:scale>
        <p:origin x="-1314" y="-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3584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63" Type="http://schemas.openxmlformats.org/officeDocument/2006/relationships/slide" Target="slides/slide61.xml"/><Relationship Id="rId68" Type="http://schemas.openxmlformats.org/officeDocument/2006/relationships/theme" Target="theme/theme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61" Type="http://schemas.openxmlformats.org/officeDocument/2006/relationships/slide" Target="slides/slide59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slide" Target="slides/slide62.xml"/><Relationship Id="rId69" Type="http://schemas.openxmlformats.org/officeDocument/2006/relationships/tableStyles" Target="tableStyle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viewProps" Target="viewProps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slide" Target="slides/slide60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23D9A6C-17CE-4B30-867B-1C93BF9F9C61}" type="doc">
      <dgm:prSet loTypeId="urn:microsoft.com/office/officeart/2005/8/layout/matrix1" loCatId="matrix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29FC5B7-213E-4A9A-A2C9-21DD476B185C}">
      <dgm:prSet phldrT="[Текст]" custT="1"/>
      <dgm:spPr/>
      <dgm:t>
        <a:bodyPr/>
        <a:lstStyle/>
        <a:p>
          <a:r>
            <a:rPr lang="ru-RU" sz="2400" b="1" dirty="0">
              <a:latin typeface="Times New Roman" pitchFamily="18" charset="0"/>
              <a:cs typeface="Times New Roman" pitchFamily="18" charset="0"/>
            </a:rPr>
            <a:t>ФГ- синтез знаний, навыков, мотивации и опыта</a:t>
          </a:r>
        </a:p>
      </dgm:t>
    </dgm:pt>
    <dgm:pt modelId="{995A4548-7AFF-45E5-A710-6B853327C1E5}" type="parTrans" cxnId="{9F0B066D-9C04-44C1-BABC-1A153EA12B5B}">
      <dgm:prSet/>
      <dgm:spPr/>
      <dgm:t>
        <a:bodyPr/>
        <a:lstStyle/>
        <a:p>
          <a:endParaRPr lang="ru-RU"/>
        </a:p>
      </dgm:t>
    </dgm:pt>
    <dgm:pt modelId="{247308C0-C109-4F69-9281-95BF11767027}" type="sibTrans" cxnId="{9F0B066D-9C04-44C1-BABC-1A153EA12B5B}">
      <dgm:prSet/>
      <dgm:spPr/>
      <dgm:t>
        <a:bodyPr/>
        <a:lstStyle/>
        <a:p>
          <a:endParaRPr lang="ru-RU"/>
        </a:p>
      </dgm:t>
    </dgm:pt>
    <dgm:pt modelId="{4F3CA190-DB86-4751-888B-E708F91C0783}">
      <dgm:prSet phldrT="[Текст]" custT="1"/>
      <dgm:spPr>
        <a:solidFill>
          <a:srgbClr val="FFC000"/>
        </a:solidFill>
      </dgm:spPr>
      <dgm:t>
        <a:bodyPr/>
        <a:lstStyle/>
        <a:p>
          <a:r>
            <a:rPr lang="ru-RU" sz="22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Личностное развитие </a:t>
          </a:r>
          <a:r>
            <a:rPr lang="ru-RU" sz="2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(результат «</a:t>
          </a:r>
          <a:r>
            <a:rPr lang="ru-RU" sz="22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смыслообразование</a:t>
          </a:r>
          <a:r>
            <a:rPr lang="ru-RU" sz="22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и нравственно-этическая ориентация») обеспечивает мотивацию ответственности за социальную востребованность предметных знаний и навыков </a:t>
          </a:r>
        </a:p>
      </dgm:t>
    </dgm:pt>
    <dgm:pt modelId="{87D06304-10B9-47DB-86EE-B490D20E5773}" type="parTrans" cxnId="{C4AB3A21-EE22-4F0D-B3C9-7B4AE607B31E}">
      <dgm:prSet/>
      <dgm:spPr/>
      <dgm:t>
        <a:bodyPr/>
        <a:lstStyle/>
        <a:p>
          <a:endParaRPr lang="ru-RU"/>
        </a:p>
      </dgm:t>
    </dgm:pt>
    <dgm:pt modelId="{AA69E841-629B-4029-BD64-6389CBA19093}" type="sibTrans" cxnId="{C4AB3A21-EE22-4F0D-B3C9-7B4AE607B31E}">
      <dgm:prSet/>
      <dgm:spPr/>
      <dgm:t>
        <a:bodyPr/>
        <a:lstStyle/>
        <a:p>
          <a:endParaRPr lang="ru-RU"/>
        </a:p>
      </dgm:t>
    </dgm:pt>
    <dgm:pt modelId="{8B9CDC6A-5415-4570-93AE-EF5B83070FD6}">
      <dgm:prSet phldrT="[Текст]" custT="1"/>
      <dgm:spPr>
        <a:solidFill>
          <a:srgbClr val="92D050"/>
        </a:solidFill>
      </dgm:spPr>
      <dgm:t>
        <a:bodyPr/>
        <a:lstStyle/>
        <a:p>
          <a:r>
            <a:rPr lang="ru-RU" sz="2400" b="1" dirty="0">
              <a:solidFill>
                <a:srgbClr val="FFFF00"/>
              </a:solidFill>
              <a:latin typeface="Times New Roman" pitchFamily="18" charset="0"/>
              <a:cs typeface="Times New Roman" pitchFamily="18" charset="0"/>
            </a:rPr>
            <a:t>Метапредметные результаты (УУД + межпредметные понятия) дают способы действий с предметным содержанием</a:t>
          </a:r>
        </a:p>
      </dgm:t>
    </dgm:pt>
    <dgm:pt modelId="{6838CCCF-0AE9-4C53-9C5D-962B6CF35645}" type="parTrans" cxnId="{3EAB7B1A-97E3-405A-8D37-023BD87B4A37}">
      <dgm:prSet/>
      <dgm:spPr/>
      <dgm:t>
        <a:bodyPr/>
        <a:lstStyle/>
        <a:p>
          <a:endParaRPr lang="ru-RU"/>
        </a:p>
      </dgm:t>
    </dgm:pt>
    <dgm:pt modelId="{8EA36BB0-8A66-47F4-8DA6-BF0580EDAD1B}" type="sibTrans" cxnId="{3EAB7B1A-97E3-405A-8D37-023BD87B4A37}">
      <dgm:prSet/>
      <dgm:spPr/>
      <dgm:t>
        <a:bodyPr/>
        <a:lstStyle/>
        <a:p>
          <a:endParaRPr lang="ru-RU"/>
        </a:p>
      </dgm:t>
    </dgm:pt>
    <dgm:pt modelId="{FBCFCCDD-E123-4871-BC84-0D03BC2EEFD3}">
      <dgm:prSet phldrT="[Текст]" custT="1"/>
      <dgm:spPr>
        <a:solidFill>
          <a:srgbClr val="92D050"/>
        </a:solidFill>
      </dgm:spPr>
      <dgm:t>
        <a:bodyPr/>
        <a:lstStyle/>
        <a:p>
          <a:r>
            <a:rPr lang="ru-RU" sz="2800" dirty="0">
              <a:latin typeface="Times New Roman" pitchFamily="18" charset="0"/>
              <a:cs typeface="Times New Roman" pitchFamily="18" charset="0"/>
            </a:rPr>
            <a:t>Проектная деятельность создает условия для реализации знаний в осознанной социально востребованной </a:t>
          </a:r>
          <a:r>
            <a:rPr lang="ru-RU" sz="2800" dirty="0" smtClean="0">
              <a:latin typeface="Times New Roman" pitchFamily="18" charset="0"/>
              <a:cs typeface="Times New Roman" pitchFamily="18" charset="0"/>
            </a:rPr>
            <a:t>деятельности</a:t>
          </a:r>
        </a:p>
        <a:p>
          <a:endParaRPr lang="ru-RU" sz="2800" dirty="0">
            <a:latin typeface="Times New Roman" pitchFamily="18" charset="0"/>
            <a:cs typeface="Times New Roman" pitchFamily="18" charset="0"/>
          </a:endParaRPr>
        </a:p>
      </dgm:t>
    </dgm:pt>
    <dgm:pt modelId="{BB522C08-8A04-4176-A9A9-10B70C09D941}" type="parTrans" cxnId="{33B56FEC-AE97-4E27-818B-43FBDE6C94E2}">
      <dgm:prSet/>
      <dgm:spPr/>
      <dgm:t>
        <a:bodyPr/>
        <a:lstStyle/>
        <a:p>
          <a:endParaRPr lang="ru-RU"/>
        </a:p>
      </dgm:t>
    </dgm:pt>
    <dgm:pt modelId="{E39F1A4D-6C82-4459-8259-0C7FD247B58A}" type="sibTrans" cxnId="{33B56FEC-AE97-4E27-818B-43FBDE6C94E2}">
      <dgm:prSet/>
      <dgm:spPr/>
      <dgm:t>
        <a:bodyPr/>
        <a:lstStyle/>
        <a:p>
          <a:endParaRPr lang="ru-RU"/>
        </a:p>
      </dgm:t>
    </dgm:pt>
    <dgm:pt modelId="{FA8C14D5-EF59-4727-808F-EF50322B8B9E}">
      <dgm:prSet phldrT="[Текст]" custT="1"/>
      <dgm:spPr>
        <a:solidFill>
          <a:srgbClr val="FFC000"/>
        </a:solidFill>
      </dgm:spPr>
      <dgm:t>
        <a:bodyPr/>
        <a:lstStyle/>
        <a:p>
          <a:r>
            <a:rPr lang="ru-RU" sz="24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Предметные р</a:t>
          </a:r>
          <a:r>
            <a:rPr lang="ru-RU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езультаты дают представление о явлениях окружающего мира; формируют </a:t>
          </a:r>
          <a:r>
            <a:rPr lang="ru-RU" sz="2400" dirty="0" err="1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знаниево-информационный</a:t>
          </a:r>
          <a:r>
            <a:rPr lang="ru-RU" sz="2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rPr>
            <a:t> каркас ФГ </a:t>
          </a:r>
          <a:endParaRPr lang="ru-RU" sz="2400" dirty="0" smtClean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  <a:p>
          <a:endParaRPr lang="ru-RU" sz="2400" dirty="0" smtClean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  <a:p>
          <a:endParaRPr lang="ru-RU" sz="2400" dirty="0">
            <a:solidFill>
              <a:schemeClr val="tx1"/>
            </a:solidFill>
            <a:latin typeface="Times New Roman" pitchFamily="18" charset="0"/>
            <a:cs typeface="Times New Roman" pitchFamily="18" charset="0"/>
          </a:endParaRPr>
        </a:p>
      </dgm:t>
    </dgm:pt>
    <dgm:pt modelId="{31F8AA23-D027-442D-9CA6-7E25901B3FDA}" type="parTrans" cxnId="{C0D2E24F-911F-48A8-9248-B480820ADEA6}">
      <dgm:prSet/>
      <dgm:spPr/>
      <dgm:t>
        <a:bodyPr/>
        <a:lstStyle/>
        <a:p>
          <a:endParaRPr lang="ru-RU"/>
        </a:p>
      </dgm:t>
    </dgm:pt>
    <dgm:pt modelId="{9D690615-0A69-490A-80A0-A17AA0DF4D57}" type="sibTrans" cxnId="{C0D2E24F-911F-48A8-9248-B480820ADEA6}">
      <dgm:prSet/>
      <dgm:spPr/>
      <dgm:t>
        <a:bodyPr/>
        <a:lstStyle/>
        <a:p>
          <a:endParaRPr lang="ru-RU"/>
        </a:p>
      </dgm:t>
    </dgm:pt>
    <dgm:pt modelId="{EE77F611-A3C5-488C-A6F3-67BDD58A5D14}" type="pres">
      <dgm:prSet presAssocID="{023D9A6C-17CE-4B30-867B-1C93BF9F9C61}" presName="diagram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A2B3374-45D8-45CA-8F4A-F3D736FC394D}" type="pres">
      <dgm:prSet presAssocID="{023D9A6C-17CE-4B30-867B-1C93BF9F9C61}" presName="matrix" presStyleCnt="0"/>
      <dgm:spPr/>
    </dgm:pt>
    <dgm:pt modelId="{99F84169-0C4F-4F38-B833-DE27FF9079ED}" type="pres">
      <dgm:prSet presAssocID="{023D9A6C-17CE-4B30-867B-1C93BF9F9C61}" presName="tile1" presStyleLbl="node1" presStyleIdx="0" presStyleCnt="4"/>
      <dgm:spPr/>
      <dgm:t>
        <a:bodyPr/>
        <a:lstStyle/>
        <a:p>
          <a:endParaRPr lang="ru-RU"/>
        </a:p>
      </dgm:t>
    </dgm:pt>
    <dgm:pt modelId="{5F1FF03E-67F6-46FB-851B-AAE3AF8BF425}" type="pres">
      <dgm:prSet presAssocID="{023D9A6C-17CE-4B30-867B-1C93BF9F9C61}" presName="tile1text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CAB96D5-DF86-4971-B3EB-9490E77F3C8A}" type="pres">
      <dgm:prSet presAssocID="{023D9A6C-17CE-4B30-867B-1C93BF9F9C61}" presName="tile2" presStyleLbl="node1" presStyleIdx="1" presStyleCnt="4"/>
      <dgm:spPr/>
      <dgm:t>
        <a:bodyPr/>
        <a:lstStyle/>
        <a:p>
          <a:endParaRPr lang="ru-RU"/>
        </a:p>
      </dgm:t>
    </dgm:pt>
    <dgm:pt modelId="{5A7BF88E-D3FC-42D1-BE9B-055089A14A11}" type="pres">
      <dgm:prSet presAssocID="{023D9A6C-17CE-4B30-867B-1C93BF9F9C61}" presName="tile2text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57EB266-D492-4B70-8435-B6442F63FE88}" type="pres">
      <dgm:prSet presAssocID="{023D9A6C-17CE-4B30-867B-1C93BF9F9C61}" presName="tile3" presStyleLbl="node1" presStyleIdx="2" presStyleCnt="4"/>
      <dgm:spPr/>
      <dgm:t>
        <a:bodyPr/>
        <a:lstStyle/>
        <a:p>
          <a:endParaRPr lang="ru-RU"/>
        </a:p>
      </dgm:t>
    </dgm:pt>
    <dgm:pt modelId="{F932BD93-6C75-4A83-B230-67117C5E3EF9}" type="pres">
      <dgm:prSet presAssocID="{023D9A6C-17CE-4B30-867B-1C93BF9F9C61}" presName="tile3text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50C2796-FFCE-4A9C-976D-FB61E47B8727}" type="pres">
      <dgm:prSet presAssocID="{023D9A6C-17CE-4B30-867B-1C93BF9F9C61}" presName="tile4" presStyleLbl="node1" presStyleIdx="3" presStyleCnt="4"/>
      <dgm:spPr/>
      <dgm:t>
        <a:bodyPr/>
        <a:lstStyle/>
        <a:p>
          <a:endParaRPr lang="ru-RU"/>
        </a:p>
      </dgm:t>
    </dgm:pt>
    <dgm:pt modelId="{49184715-C2F1-41BC-8B5A-B6208DC9CDB3}" type="pres">
      <dgm:prSet presAssocID="{023D9A6C-17CE-4B30-867B-1C93BF9F9C61}" presName="tile4text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1A40335-89DB-4374-BA63-8F7C1F2E6E56}" type="pres">
      <dgm:prSet presAssocID="{023D9A6C-17CE-4B30-867B-1C93BF9F9C61}" presName="centerTile" presStyleLbl="fgShp" presStyleIdx="0" presStyleCnt="1" custScaleX="122222" custScaleY="89410" custLinFactNeighborX="-2778" custLinFactNeighborY="-14118">
        <dgm:presLayoutVars>
          <dgm:chMax val="0"/>
          <dgm:chPref val="0"/>
        </dgm:presLayoutVars>
      </dgm:prSet>
      <dgm:spPr/>
      <dgm:t>
        <a:bodyPr/>
        <a:lstStyle/>
        <a:p>
          <a:endParaRPr lang="ru-RU"/>
        </a:p>
      </dgm:t>
    </dgm:pt>
  </dgm:ptLst>
  <dgm:cxnLst>
    <dgm:cxn modelId="{9F0B066D-9C04-44C1-BABC-1A153EA12B5B}" srcId="{023D9A6C-17CE-4B30-867B-1C93BF9F9C61}" destId="{429FC5B7-213E-4A9A-A2C9-21DD476B185C}" srcOrd="0" destOrd="0" parTransId="{995A4548-7AFF-45E5-A710-6B853327C1E5}" sibTransId="{247308C0-C109-4F69-9281-95BF11767027}"/>
    <dgm:cxn modelId="{B318BD17-4480-4FC5-AAE8-C2B28E25BA23}" type="presOf" srcId="{8B9CDC6A-5415-4570-93AE-EF5B83070FD6}" destId="{5A7BF88E-D3FC-42D1-BE9B-055089A14A11}" srcOrd="1" destOrd="0" presId="urn:microsoft.com/office/officeart/2005/8/layout/matrix1"/>
    <dgm:cxn modelId="{C0D2E24F-911F-48A8-9248-B480820ADEA6}" srcId="{429FC5B7-213E-4A9A-A2C9-21DD476B185C}" destId="{FA8C14D5-EF59-4727-808F-EF50322B8B9E}" srcOrd="3" destOrd="0" parTransId="{31F8AA23-D027-442D-9CA6-7E25901B3FDA}" sibTransId="{9D690615-0A69-490A-80A0-A17AA0DF4D57}"/>
    <dgm:cxn modelId="{19498A47-6907-4AE1-9BCF-6C18141938E0}" type="presOf" srcId="{8B9CDC6A-5415-4570-93AE-EF5B83070FD6}" destId="{2CAB96D5-DF86-4971-B3EB-9490E77F3C8A}" srcOrd="0" destOrd="0" presId="urn:microsoft.com/office/officeart/2005/8/layout/matrix1"/>
    <dgm:cxn modelId="{33B56FEC-AE97-4E27-818B-43FBDE6C94E2}" srcId="{429FC5B7-213E-4A9A-A2C9-21DD476B185C}" destId="{FBCFCCDD-E123-4871-BC84-0D03BC2EEFD3}" srcOrd="2" destOrd="0" parTransId="{BB522C08-8A04-4176-A9A9-10B70C09D941}" sibTransId="{E39F1A4D-6C82-4459-8259-0C7FD247B58A}"/>
    <dgm:cxn modelId="{8B08519B-D95C-4AF7-80D8-C8EA0D6B21C7}" type="presOf" srcId="{429FC5B7-213E-4A9A-A2C9-21DD476B185C}" destId="{71A40335-89DB-4374-BA63-8F7C1F2E6E56}" srcOrd="0" destOrd="0" presId="urn:microsoft.com/office/officeart/2005/8/layout/matrix1"/>
    <dgm:cxn modelId="{E34FF375-E740-45A3-B43F-0C6BF1D7128B}" type="presOf" srcId="{023D9A6C-17CE-4B30-867B-1C93BF9F9C61}" destId="{EE77F611-A3C5-488C-A6F3-67BDD58A5D14}" srcOrd="0" destOrd="0" presId="urn:microsoft.com/office/officeart/2005/8/layout/matrix1"/>
    <dgm:cxn modelId="{F8BF1BFF-9A71-418F-BEA9-2406F9C8AD12}" type="presOf" srcId="{FA8C14D5-EF59-4727-808F-EF50322B8B9E}" destId="{A50C2796-FFCE-4A9C-976D-FB61E47B8727}" srcOrd="0" destOrd="0" presId="urn:microsoft.com/office/officeart/2005/8/layout/matrix1"/>
    <dgm:cxn modelId="{211A7C25-3D7F-4B49-8046-2F4A72759E91}" type="presOf" srcId="{4F3CA190-DB86-4751-888B-E708F91C0783}" destId="{99F84169-0C4F-4F38-B833-DE27FF9079ED}" srcOrd="0" destOrd="0" presId="urn:microsoft.com/office/officeart/2005/8/layout/matrix1"/>
    <dgm:cxn modelId="{2469C586-BF4F-4610-B8A2-1944364DF00B}" type="presOf" srcId="{FBCFCCDD-E123-4871-BC84-0D03BC2EEFD3}" destId="{F932BD93-6C75-4A83-B230-67117C5E3EF9}" srcOrd="1" destOrd="0" presId="urn:microsoft.com/office/officeart/2005/8/layout/matrix1"/>
    <dgm:cxn modelId="{C4AB3A21-EE22-4F0D-B3C9-7B4AE607B31E}" srcId="{429FC5B7-213E-4A9A-A2C9-21DD476B185C}" destId="{4F3CA190-DB86-4751-888B-E708F91C0783}" srcOrd="0" destOrd="0" parTransId="{87D06304-10B9-47DB-86EE-B490D20E5773}" sibTransId="{AA69E841-629B-4029-BD64-6389CBA19093}"/>
    <dgm:cxn modelId="{7374B303-8FD8-46E6-8AB0-9E7E6172FCE2}" type="presOf" srcId="{4F3CA190-DB86-4751-888B-E708F91C0783}" destId="{5F1FF03E-67F6-46FB-851B-AAE3AF8BF425}" srcOrd="1" destOrd="0" presId="urn:microsoft.com/office/officeart/2005/8/layout/matrix1"/>
    <dgm:cxn modelId="{81CEE7B8-CA2F-4239-8059-B2F1F84E02C2}" type="presOf" srcId="{FBCFCCDD-E123-4871-BC84-0D03BC2EEFD3}" destId="{557EB266-D492-4B70-8435-B6442F63FE88}" srcOrd="0" destOrd="0" presId="urn:microsoft.com/office/officeart/2005/8/layout/matrix1"/>
    <dgm:cxn modelId="{9DDA6A51-2CE0-4649-97F4-82D17F090D90}" type="presOf" srcId="{FA8C14D5-EF59-4727-808F-EF50322B8B9E}" destId="{49184715-C2F1-41BC-8B5A-B6208DC9CDB3}" srcOrd="1" destOrd="0" presId="urn:microsoft.com/office/officeart/2005/8/layout/matrix1"/>
    <dgm:cxn modelId="{3EAB7B1A-97E3-405A-8D37-023BD87B4A37}" srcId="{429FC5B7-213E-4A9A-A2C9-21DD476B185C}" destId="{8B9CDC6A-5415-4570-93AE-EF5B83070FD6}" srcOrd="1" destOrd="0" parTransId="{6838CCCF-0AE9-4C53-9C5D-962B6CF35645}" sibTransId="{8EA36BB0-8A66-47F4-8DA6-BF0580EDAD1B}"/>
    <dgm:cxn modelId="{B0B2D5DA-6C81-4D07-92AC-74C14F3C24B2}" type="presParOf" srcId="{EE77F611-A3C5-488C-A6F3-67BDD58A5D14}" destId="{7A2B3374-45D8-45CA-8F4A-F3D736FC394D}" srcOrd="0" destOrd="0" presId="urn:microsoft.com/office/officeart/2005/8/layout/matrix1"/>
    <dgm:cxn modelId="{DF276843-ED15-4C40-86C0-5C83106E7536}" type="presParOf" srcId="{7A2B3374-45D8-45CA-8F4A-F3D736FC394D}" destId="{99F84169-0C4F-4F38-B833-DE27FF9079ED}" srcOrd="0" destOrd="0" presId="urn:microsoft.com/office/officeart/2005/8/layout/matrix1"/>
    <dgm:cxn modelId="{E913500C-F2F1-4C1A-932E-C663BED43F01}" type="presParOf" srcId="{7A2B3374-45D8-45CA-8F4A-F3D736FC394D}" destId="{5F1FF03E-67F6-46FB-851B-AAE3AF8BF425}" srcOrd="1" destOrd="0" presId="urn:microsoft.com/office/officeart/2005/8/layout/matrix1"/>
    <dgm:cxn modelId="{74BEEC9A-A01F-405D-BDAD-106777F31446}" type="presParOf" srcId="{7A2B3374-45D8-45CA-8F4A-F3D736FC394D}" destId="{2CAB96D5-DF86-4971-B3EB-9490E77F3C8A}" srcOrd="2" destOrd="0" presId="urn:microsoft.com/office/officeart/2005/8/layout/matrix1"/>
    <dgm:cxn modelId="{4B08543F-6648-4693-B620-F75DA5BE45AB}" type="presParOf" srcId="{7A2B3374-45D8-45CA-8F4A-F3D736FC394D}" destId="{5A7BF88E-D3FC-42D1-BE9B-055089A14A11}" srcOrd="3" destOrd="0" presId="urn:microsoft.com/office/officeart/2005/8/layout/matrix1"/>
    <dgm:cxn modelId="{179B65EF-212D-41C5-BF4B-08AD049FBB12}" type="presParOf" srcId="{7A2B3374-45D8-45CA-8F4A-F3D736FC394D}" destId="{557EB266-D492-4B70-8435-B6442F63FE88}" srcOrd="4" destOrd="0" presId="urn:microsoft.com/office/officeart/2005/8/layout/matrix1"/>
    <dgm:cxn modelId="{9ADB3D45-FCE9-4CEA-ABBD-FD43C949C1E6}" type="presParOf" srcId="{7A2B3374-45D8-45CA-8F4A-F3D736FC394D}" destId="{F932BD93-6C75-4A83-B230-67117C5E3EF9}" srcOrd="5" destOrd="0" presId="urn:microsoft.com/office/officeart/2005/8/layout/matrix1"/>
    <dgm:cxn modelId="{FDA298CA-3A6D-419C-B2DC-DA8581F78AD8}" type="presParOf" srcId="{7A2B3374-45D8-45CA-8F4A-F3D736FC394D}" destId="{A50C2796-FFCE-4A9C-976D-FB61E47B8727}" srcOrd="6" destOrd="0" presId="urn:microsoft.com/office/officeart/2005/8/layout/matrix1"/>
    <dgm:cxn modelId="{40147CCC-30FA-4F83-91B6-347C68C795EC}" type="presParOf" srcId="{7A2B3374-45D8-45CA-8F4A-F3D736FC394D}" destId="{49184715-C2F1-41BC-8B5A-B6208DC9CDB3}" srcOrd="7" destOrd="0" presId="urn:microsoft.com/office/officeart/2005/8/layout/matrix1"/>
    <dgm:cxn modelId="{33613FE1-79A1-48B8-85D7-C37488167F14}" type="presParOf" srcId="{EE77F611-A3C5-488C-A6F3-67BDD58A5D14}" destId="{71A40335-89DB-4374-BA63-8F7C1F2E6E56}" srcOrd="1" destOrd="0" presId="urn:microsoft.com/office/officeart/2005/8/layout/matrix1"/>
  </dgm:cxnLst>
  <dgm:bg/>
  <dgm:whole/>
</dgm:dataModel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matrix1">
  <dgm:title val=""/>
  <dgm:desc val=""/>
  <dgm:catLst>
    <dgm:cat type="matrix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3" destOrd="0"/>
      </dgm:cxnLst>
      <dgm:bg/>
      <dgm:whole/>
    </dgm:dataModel>
  </dgm:clrData>
  <dgm:layoutNode name="diagram">
    <dgm:varLst>
      <dgm:chMax val="1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ctrX" for="ch" forName="matrix" refType="w" fact="0.5"/>
      <dgm:constr type="ctrY" for="ch" forName="matrix" refType="h" fact="0.5"/>
      <dgm:constr type="w" for="ch" forName="matrix" refType="w"/>
      <dgm:constr type="h" for="ch" forName="matrix" refType="h"/>
      <dgm:constr type="ctrX" for="ch" forName="centerTile" refType="w" fact="0.5"/>
      <dgm:constr type="ctrY" for="ch" forName="centerTile" refType="h" fact="0.5"/>
      <dgm:constr type="w" for="ch" forName="centerTile" refType="w" fact="0.3"/>
      <dgm:constr type="h" for="ch" forName="centerTile" refType="h" fact="0.25"/>
      <dgm:constr type="primFontSz" for="des" ptType="node" op="equ" val="65"/>
    </dgm:constrLst>
    <dgm:ruleLst/>
    <dgm:choose name="Name0">
      <dgm:if name="Name1" axis="ch" ptType="node" func="cnt" op="gte" val="1">
        <dgm:layoutNode name="matrix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l" for="ch" forName="tile1"/>
            <dgm:constr type="t" for="ch" forName="tile1"/>
            <dgm:constr type="r" for="ch" forName="tile1" refType="w" fact="0.5"/>
            <dgm:constr type="b" for="ch" forName="tile1" refType="h" fact="0.5"/>
            <dgm:constr type="l" for="ch" forName="tile1text" refType="l" refFor="ch" refForName="tile1"/>
            <dgm:constr type="t" for="ch" forName="tile1text" refType="t" refFor="ch" refForName="tile1"/>
            <dgm:constr type="w" for="ch" forName="tile1text" refType="w" refFor="ch" refForName="tile1"/>
            <dgm:constr type="h" for="ch" forName="tile1text" refType="h" refFor="ch" refForName="tile1" fact="0.75"/>
            <dgm:constr type="r" for="ch" forName="tile2" refType="w"/>
            <dgm:constr type="t" for="ch" forName="tile2"/>
            <dgm:constr type="l" for="ch" forName="tile2" refType="w" fact="0.5"/>
            <dgm:constr type="b" for="ch" forName="tile2" refType="h" fact="0.5"/>
            <dgm:constr type="r" for="ch" forName="tile2text" refType="r" refFor="ch" refForName="tile2"/>
            <dgm:constr type="t" for="ch" forName="tile2text" refType="t" refFor="ch" refForName="tile2"/>
            <dgm:constr type="w" for="ch" forName="tile2text" refType="w" refFor="ch" refForName="tile2"/>
            <dgm:constr type="h" for="ch" forName="tile2text" refType="h" refFor="ch" refForName="tile2" fact="0.75"/>
            <dgm:constr type="l" for="ch" forName="tile3"/>
            <dgm:constr type="b" for="ch" forName="tile3" refType="h"/>
            <dgm:constr type="r" for="ch" forName="tile3" refType="w" fact="0.5"/>
            <dgm:constr type="t" for="ch" forName="tile3" refType="h" fact="0.5"/>
            <dgm:constr type="l" for="ch" forName="tile3text" refType="l" refFor="ch" refForName="tile3"/>
            <dgm:constr type="b" for="ch" forName="tile3text" refType="b" refFor="ch" refForName="tile3"/>
            <dgm:constr type="w" for="ch" forName="tile3text" refType="w" refFor="ch" refForName="tile3"/>
            <dgm:constr type="h" for="ch" forName="tile3text" refType="h" refFor="ch" refForName="tile3" fact="0.75"/>
            <dgm:constr type="r" for="ch" forName="tile4" refType="w"/>
            <dgm:constr type="b" for="ch" forName="tile4" refType="h"/>
            <dgm:constr type="l" for="ch" forName="tile4" refType="w" fact="0.5"/>
            <dgm:constr type="t" for="ch" forName="tile4" refType="h" fact="0.5"/>
            <dgm:constr type="r" for="ch" forName="tile4text" refType="r" refFor="ch" refForName="tile4"/>
            <dgm:constr type="b" for="ch" forName="tile4text" refType="b" refFor="ch" refForName="tile4"/>
            <dgm:constr type="w" for="ch" forName="tile4text" refType="w" refFor="ch" refForName="tile4"/>
            <dgm:constr type="h" for="ch" forName="tile4text" refType="h" refFor="ch" refForName="tile4" fact="0.75"/>
          </dgm:constrLst>
          <dgm:ruleLst/>
          <dgm:layoutNode name="tile1" styleLbl="node1">
            <dgm:alg type="sp"/>
            <dgm:shape xmlns:r="http://schemas.openxmlformats.org/officeDocument/2006/relationships" rot="270" type="round1Rect" r:blip="">
              <dgm:adjLst/>
            </dgm:shape>
            <dgm:choose name="Name2">
              <dgm:if name="Name3" func="var" arg="dir" op="equ" val="norm">
                <dgm:presOf axis="ch ch desOrSelf" ptType="node node node" st="1 1 1" cnt="1 1 0"/>
              </dgm:if>
              <dgm:else name="Name4">
                <dgm:presOf axis="ch ch desOrSelf" ptType="node node node" st="1 2 1" cnt="1 1 0"/>
              </dgm:else>
            </dgm:choose>
            <dgm:constrLst/>
            <dgm:ruleLst/>
          </dgm:layoutNode>
          <dgm:layoutNode name="tile1text" styleLbl="node1">
            <dgm:varLst>
              <dgm:chMax val="0"/>
              <dgm:chPref val="0"/>
              <dgm:bulletEnabled val="1"/>
            </dgm:varLst>
            <dgm:choose name="Name5">
              <dgm:if name="Name6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7">
                <dgm:alg type="tx"/>
              </dgm:else>
            </dgm:choose>
            <dgm:shape xmlns:r="http://schemas.openxmlformats.org/officeDocument/2006/relationships" rot="270" type="rect" r:blip="" hideGeom="1">
              <dgm:adjLst>
                <dgm:adj idx="1" val="0.2"/>
              </dgm:adjLst>
            </dgm:shape>
            <dgm:choose name="Name8">
              <dgm:if name="Name9" func="var" arg="dir" op="equ" val="norm">
                <dgm:presOf axis="ch ch desOrSelf" ptType="node node node" st="1 1 1" cnt="1 1 0"/>
              </dgm:if>
              <dgm:else name="Name10">
                <dgm:presOf axis="ch ch desOrSelf" ptType="node node node" st="1 2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2" styleLbl="node1">
            <dgm:alg type="sp"/>
            <dgm:shape xmlns:r="http://schemas.openxmlformats.org/officeDocument/2006/relationships" type="round1Rect" r:blip="">
              <dgm:adjLst/>
            </dgm:shape>
            <dgm:choose name="Name11">
              <dgm:if name="Name12" func="var" arg="dir" op="equ" val="norm">
                <dgm:presOf axis="ch ch desOrSelf" ptType="node node node" st="1 2 1" cnt="1 1 0"/>
              </dgm:if>
              <dgm:else name="Name13">
                <dgm:presOf axis="ch ch desOrSelf" ptType="node node node" st="1 1 1" cnt="1 1 0"/>
              </dgm:else>
            </dgm:choose>
            <dgm:constrLst/>
            <dgm:ruleLst/>
          </dgm:layoutNode>
          <dgm:layoutNode name="tile2text" styleLbl="node1">
            <dgm:varLst>
              <dgm:chMax val="0"/>
              <dgm:chPref val="0"/>
              <dgm:bulletEnabled val="1"/>
            </dgm:varLst>
            <dgm:choose name="Name14">
              <dgm:if name="Name15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16">
                <dgm:alg type="tx"/>
              </dgm:else>
            </dgm:choose>
            <dgm:shape xmlns:r="http://schemas.openxmlformats.org/officeDocument/2006/relationships" type="rect" r:blip="" hideGeom="1">
              <dgm:adjLst/>
            </dgm:shape>
            <dgm:choose name="Name17">
              <dgm:if name="Name18" func="var" arg="dir" op="equ" val="norm">
                <dgm:presOf axis="ch ch desOrSelf" ptType="node node node" st="1 2 1" cnt="1 1 0"/>
              </dgm:if>
              <dgm:else name="Name19">
                <dgm:presOf axis="ch ch desOrSelf" ptType="node node node" st="1 1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3" styleLbl="node1">
            <dgm:alg type="sp"/>
            <dgm:shape xmlns:r="http://schemas.openxmlformats.org/officeDocument/2006/relationships" rot="180" type="round1Rect" r:blip="">
              <dgm:adjLst/>
            </dgm:shape>
            <dgm:choose name="Name20">
              <dgm:if name="Name21" func="var" arg="dir" op="equ" val="norm">
                <dgm:presOf axis="ch ch desOrSelf" ptType="node node node" st="1 3 1" cnt="1 1 0"/>
              </dgm:if>
              <dgm:else name="Name22">
                <dgm:presOf axis="ch ch desOrSelf" ptType="node node node" st="1 4 1" cnt="1 1 0"/>
              </dgm:else>
            </dgm:choose>
            <dgm:constrLst/>
            <dgm:ruleLst/>
          </dgm:layoutNode>
          <dgm:layoutNode name="tile3text" styleLbl="node1">
            <dgm:varLst>
              <dgm:chMax val="0"/>
              <dgm:chPref val="0"/>
              <dgm:bulletEnabled val="1"/>
            </dgm:varLst>
            <dgm:choose name="Name23">
              <dgm:if name="Name24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25">
                <dgm:alg type="tx"/>
              </dgm:else>
            </dgm:choose>
            <dgm:shape xmlns:r="http://schemas.openxmlformats.org/officeDocument/2006/relationships" rot="180" type="rect" r:blip="" hideGeom="1">
              <dgm:adjLst/>
            </dgm:shape>
            <dgm:choose name="Name26">
              <dgm:if name="Name27" func="var" arg="dir" op="equ" val="norm">
                <dgm:presOf axis="ch ch desOrSelf" ptType="node node node" st="1 3 1" cnt="1 1 0"/>
              </dgm:if>
              <dgm:else name="Name28">
                <dgm:presOf axis="ch ch desOrSelf" ptType="node node node" st="1 4 1" cnt="1 1 0"/>
              </dgm:else>
            </dgm:choose>
            <dgm:constrLst/>
            <dgm:ruleLst>
              <dgm:rule type="primFontSz" val="5" fact="NaN" max="NaN"/>
            </dgm:ruleLst>
          </dgm:layoutNode>
          <dgm:layoutNode name="tile4" styleLbl="node1">
            <dgm:alg type="sp"/>
            <dgm:shape xmlns:r="http://schemas.openxmlformats.org/officeDocument/2006/relationships" rot="90" type="round1Rect" r:blip="">
              <dgm:adjLst/>
            </dgm:shape>
            <dgm:choose name="Name29">
              <dgm:if name="Name30" func="var" arg="dir" op="equ" val="norm">
                <dgm:presOf axis="ch ch desOrSelf" ptType="node node node" st="1 4 1" cnt="1 1 0"/>
              </dgm:if>
              <dgm:else name="Name31">
                <dgm:presOf axis="ch ch desOrSelf" ptType="node node node" st="1 3 1" cnt="1 1 0"/>
              </dgm:else>
            </dgm:choose>
            <dgm:constrLst/>
            <dgm:ruleLst/>
          </dgm:layoutNode>
          <dgm:layoutNode name="tile4text" styleLbl="node1">
            <dgm:varLst>
              <dgm:chMax val="0"/>
              <dgm:chPref val="0"/>
              <dgm:bulletEnabled val="1"/>
            </dgm:varLst>
            <dgm:choose name="Name32">
              <dgm:if name="Name33" axis="root des" func="maxDepth" op="gte" val="3">
                <dgm:alg type="tx">
                  <dgm:param type="txAnchorVert" val="t"/>
                  <dgm:param type="parTxLTRAlign" val="l"/>
                  <dgm:param type="parTxRTLAlign" val="r"/>
                </dgm:alg>
              </dgm:if>
              <dgm:else name="Name34">
                <dgm:alg type="tx"/>
              </dgm:else>
            </dgm:choose>
            <dgm:shape xmlns:r="http://schemas.openxmlformats.org/officeDocument/2006/relationships" rot="90" type="rect" r:blip="" hideGeom="1">
              <dgm:adjLst/>
            </dgm:shape>
            <dgm:choose name="Name35">
              <dgm:if name="Name36" func="var" arg="dir" op="equ" val="norm">
                <dgm:presOf axis="ch ch desOrSelf" ptType="node node node" st="1 4 1" cnt="1 1 0"/>
              </dgm:if>
              <dgm:else name="Name37">
                <dgm:presOf axis="ch ch desOrSelf" ptType="node node node" st="1 3 1" cnt="1 1 0"/>
              </dgm:else>
            </dgm:choose>
            <dgm:constrLst/>
            <dgm:ruleLst>
              <dgm:rule type="primFontSz" val="5" fact="NaN" max="NaN"/>
            </dgm:ruleLst>
          </dgm:layoutNode>
        </dgm:layoutNode>
        <dgm:layoutNode name="centerTile" styleLbl="fgShp">
          <dgm:varLst>
            <dgm:chMax val="0"/>
            <dgm:chPref val="0"/>
          </dgm:varLst>
          <dgm:alg type="tx"/>
          <dgm:shape xmlns:r="http://schemas.openxmlformats.org/officeDocument/2006/relationships" type="roundRect" r:blip="">
            <dgm:adjLst/>
          </dgm:shape>
          <dgm:presOf axis="ch" ptType="node" cnt="1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</dgm:if>
      <dgm:else name="Name38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43AEED-6FAA-4C1A-8C3D-44391978D9F2}" type="datetimeFigureOut">
              <a:rPr lang="ru-RU" smtClean="0"/>
              <a:pPr/>
              <a:t>30.09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9F368E9-A4E7-4813-B068-74AB4BDFE8C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7676428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02B07D-CC57-46AD-9F32-26695D096664}" type="slidenum">
              <a:rPr lang="ru-RU" smtClean="0"/>
              <a:pPr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18684302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8" name="Rectangle 2">
            <a:extLst>
              <a:ext uri="{FF2B5EF4-FFF2-40B4-BE49-F238E27FC236}">
                <a16:creationId xmlns:a16="http://schemas.microsoft.com/office/drawing/2014/main" xmlns="" id="{BDCBADE1-6C0D-4CC0-AC6B-7316B9F647A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6259" name="Rectangle 3">
            <a:extLst>
              <a:ext uri="{FF2B5EF4-FFF2-40B4-BE49-F238E27FC236}">
                <a16:creationId xmlns:a16="http://schemas.microsoft.com/office/drawing/2014/main" xmlns="" id="{9D864D61-B2A7-406C-9F4E-7E3CC0CD5D8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258" name="Rectangle 2">
            <a:extLst>
              <a:ext uri="{FF2B5EF4-FFF2-40B4-BE49-F238E27FC236}">
                <a16:creationId xmlns:a16="http://schemas.microsoft.com/office/drawing/2014/main" xmlns="" id="{BDCBADE1-6C0D-4CC0-AC6B-7316B9F647A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6259" name="Rectangle 3">
            <a:extLst>
              <a:ext uri="{FF2B5EF4-FFF2-40B4-BE49-F238E27FC236}">
                <a16:creationId xmlns:a16="http://schemas.microsoft.com/office/drawing/2014/main" xmlns="" id="{9D864D61-B2A7-406C-9F4E-7E3CC0CD5D8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02B07D-CC57-46AD-9F32-26695D096664}" type="slidenum">
              <a:rPr lang="ru-RU" smtClean="0"/>
              <a:pPr/>
              <a:t>3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786198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7651" name="Заметки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ru-RU">
              <a:latin typeface="Arial" pitchFamily="34" charset="0"/>
            </a:endParaRPr>
          </a:p>
        </p:txBody>
      </p:sp>
      <p:sp>
        <p:nvSpPr>
          <p:cNvPr id="27652" name="Номер слайда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B6F64B6-99CF-48E9-A45B-293DE30ACA2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AB91F291-D525-4B28-A391-F2EDC3D4C570}" type="datetimeFigureOut">
              <a:rPr lang="ru-RU"/>
              <a:pPr>
                <a:defRPr/>
              </a:pPr>
              <a:t>30.09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0E837BFB-3117-4BB1-ADD4-0FE52694463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7524944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F929338A-EF8B-44B1-AF51-DB90FCCABBEE}" type="datetimeFigureOut">
              <a:rPr lang="ru-RU"/>
              <a:pPr>
                <a:defRPr/>
              </a:pPr>
              <a:t>30.09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22376C9C-EE3B-4E4F-BCB3-81EABF71F29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8212538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394F61C7-ED02-4C50-A1F2-95B9AB9F8B7F}" type="datetimeFigureOut">
              <a:rPr lang="ru-RU"/>
              <a:pPr>
                <a:defRPr/>
              </a:pPr>
              <a:t>30.09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C8932E59-4656-4803-98F0-E2EA3858400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037763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8311AA64-46BB-4662-8960-670277833A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xmlns="" id="{D1C2634D-F19F-45DE-9A5E-7582939146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160848B2-B417-477F-90C5-E045A10D2EB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F1AB77-4A93-4ED2-B1B1-187E2CB9BC13}" type="datetimeFigureOut">
              <a:rPr lang="ru-RU" smtClean="0"/>
              <a:pPr/>
              <a:t>30.09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2B564E46-2258-427B-B80C-8631D3419C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F064B2F8-1BD1-42DD-B356-97BA49D871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D6694-59EC-46B3-97DA-1A6A729B4EF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9724677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7C3F3282-258A-47B9-B986-537F67F62C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3FE58982-2C71-454E-A1E3-B297B2BBFD3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17F66531-5A8F-4B50-91A3-1F86BE4178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F1AB77-4A93-4ED2-B1B1-187E2CB9BC13}" type="datetimeFigureOut">
              <a:rPr lang="ru-RU" smtClean="0"/>
              <a:pPr/>
              <a:t>30.09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6657626E-20C5-433E-8478-77A0E16D0F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0CC5D7EC-2FE2-4813-84ED-2B58CE1A64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D6694-59EC-46B3-97DA-1A6A729B4EF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8834763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6C21282-F953-4438-890B-ACB745F7B1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7FC79D9E-F8E4-4985-AB02-63D7A6EB12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395B8489-0AEF-4A19-A055-31AA4B209A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F1AB77-4A93-4ED2-B1B1-187E2CB9BC13}" type="datetimeFigureOut">
              <a:rPr lang="ru-RU" smtClean="0"/>
              <a:pPr/>
              <a:t>30.09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FD117B53-4B9D-4B1C-B618-A5C4B62C93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5C2C8518-E7A2-4A92-82FB-D15DC77215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D6694-59EC-46B3-97DA-1A6A729B4EF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73542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A5491AFC-1C69-43D4-86BE-79919832D2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14953387-CD99-46FD-8E87-A80F394A358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E813AF9E-CACD-439B-9FFA-3461D1DC68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307F684B-85B1-4F41-BB6B-26D74B2A84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F1AB77-4A93-4ED2-B1B1-187E2CB9BC13}" type="datetimeFigureOut">
              <a:rPr lang="ru-RU" smtClean="0"/>
              <a:pPr/>
              <a:t>30.09.2022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71051BEC-3532-4966-A7DF-3D5D2821C3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611AF06A-C55C-4B3A-AF58-4CC8A00234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D6694-59EC-46B3-97DA-1A6A729B4EF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664661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27909578-2A55-460B-8B13-BB02F8E794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ECE308AB-D20C-491B-9432-A76547812EE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xmlns="" id="{4A9641E8-667F-409E-BFF9-352FFFFC92E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xmlns="" id="{AE838A89-C3C6-46D3-AEEC-AF0FC22A429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xmlns="" id="{C1B5CE23-30A6-45E3-96A4-B143131448A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xmlns="" id="{671F20AF-CEBC-4EB1-B4B6-A25D73B2A3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F1AB77-4A93-4ED2-B1B1-187E2CB9BC13}" type="datetimeFigureOut">
              <a:rPr lang="ru-RU" smtClean="0"/>
              <a:pPr/>
              <a:t>30.09.2022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xmlns="" id="{1CFF83DD-36E2-4530-8F89-0FBEFEA5EC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xmlns="" id="{228F36AB-6325-48B8-8E08-F160096767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D6694-59EC-46B3-97DA-1A6A729B4EF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2885061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9772B946-F7B7-440C-AB81-331D9299E1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F19D17A2-DED6-4F2E-9A2C-4F45E17BDE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F1AB77-4A93-4ED2-B1B1-187E2CB9BC13}" type="datetimeFigureOut">
              <a:rPr lang="ru-RU" smtClean="0"/>
              <a:pPr/>
              <a:t>30.09.2022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EBCDF8DC-BA47-4496-BDDD-FA0D044539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9C72C7D7-6A52-4501-9EC9-9A33E2D6AD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D6694-59EC-46B3-97DA-1A6A729B4EF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4419207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xmlns="" id="{BB2C75C5-4441-48CA-8AF4-1992D452DF7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F1AB77-4A93-4ED2-B1B1-187E2CB9BC13}" type="datetimeFigureOut">
              <a:rPr lang="ru-RU" smtClean="0"/>
              <a:pPr/>
              <a:t>30.09.2022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xmlns="" id="{9E0F5BEC-891F-438C-80CF-C7CAAFFE0D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xmlns="" id="{C61CC242-823D-4758-9A42-D68151A1BA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D6694-59EC-46B3-97DA-1A6A729B4EF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6955289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17A23F62-2BE7-4825-A2A8-0EE8F705D6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9E5D1A5D-0EFF-4FA4-8C65-3B898B28B9C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966045F7-BDF2-4F82-943D-5DC22901566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06FDF490-25CF-4FF6-97D0-FAD91FE424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F1AB77-4A93-4ED2-B1B1-187E2CB9BC13}" type="datetimeFigureOut">
              <a:rPr lang="ru-RU" smtClean="0"/>
              <a:pPr/>
              <a:t>30.09.2022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61C6C341-8282-4540-9F04-559189A2ECB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31C8EEC4-B37F-47F7-8131-A6E4AB9BF5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D6694-59EC-46B3-97DA-1A6A729B4EF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2178210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BE3622E2-0FC2-4909-87DF-A854DF5E622B}" type="datetimeFigureOut">
              <a:rPr lang="ru-RU"/>
              <a:pPr>
                <a:defRPr/>
              </a:pPr>
              <a:t>30.09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B337B1D6-89EF-45FF-965C-5F5641CC6B2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9545894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5BFBFB92-C1A7-4D69-B15C-E3BADB3B66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xmlns="" id="{AD46B9AD-67BB-4FB4-9198-46BA4C898B8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xmlns="" id="{E2EA1DE6-E09B-4BD0-A694-7B0A8982686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xmlns="" id="{551DAEDF-A70C-4523-8118-3D08586A55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F1AB77-4A93-4ED2-B1B1-187E2CB9BC13}" type="datetimeFigureOut">
              <a:rPr lang="ru-RU" smtClean="0"/>
              <a:pPr/>
              <a:t>30.09.2022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xmlns="" id="{C42519E5-21B4-447E-A6DD-EBA64030C9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xmlns="" id="{238045E1-A0ED-443E-A4DE-8ED2E30DA8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D6694-59EC-46B3-97DA-1A6A729B4EF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70836979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E891CE0C-B6A9-4103-9938-53CE5077E8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27E50183-BA36-4B68-9876-FF089CFEC48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3D8C8F3A-BC55-4E02-884F-C307E5C6F8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F1AB77-4A93-4ED2-B1B1-187E2CB9BC13}" type="datetimeFigureOut">
              <a:rPr lang="ru-RU" smtClean="0"/>
              <a:pPr/>
              <a:t>30.09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10C91159-49E1-4036-BCD0-06A223615D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1685D8F3-93C4-4BFB-AB88-FD232B5E0E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D6694-59EC-46B3-97DA-1A6A729B4EF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06187910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xmlns="" id="{C5334C1E-F84F-433E-937F-C643D09A9FB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xmlns="" id="{6445EFD5-12F6-4B16-A86D-407D419346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24B2B980-8D73-4C91-8C19-1541A102934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F1AB77-4A93-4ED2-B1B1-187E2CB9BC13}" type="datetimeFigureOut">
              <a:rPr lang="ru-RU" smtClean="0"/>
              <a:pPr/>
              <a:t>30.09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A31B561B-906F-4578-98B0-984AB1A2EB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DEE85AAF-2D58-451C-99E4-9253DEEF53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7D6694-59EC-46B3-97DA-1A6A729B4EF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9221417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2EAD3BDF-F015-4F68-8916-913485C1ACC2}" type="datetimeFigureOut">
              <a:rPr lang="ru-RU"/>
              <a:pPr>
                <a:defRPr/>
              </a:pPr>
              <a:t>30.09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3CE3E22B-C30B-4BCA-83D3-3D4608F321C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7269694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68AE3C4B-238C-455C-8788-02D675B6133A}" type="datetimeFigureOut">
              <a:rPr lang="ru-RU"/>
              <a:pPr>
                <a:defRPr/>
              </a:pPr>
              <a:t>30.09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953EE0FE-0334-40DB-B0B0-26451CA04DB7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5902171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A157181D-3D58-4213-8D24-14D3CB5EF2C8}" type="datetimeFigureOut">
              <a:rPr lang="ru-RU"/>
              <a:pPr>
                <a:defRPr/>
              </a:pPr>
              <a:t>30.09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3CF9DC98-7610-4CEA-89B6-23C302F75CF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8364106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BCE148A1-D27F-435B-8392-5BAE9BC5B86B}" type="datetimeFigureOut">
              <a:rPr lang="ru-RU"/>
              <a:pPr>
                <a:defRPr/>
              </a:pPr>
              <a:t>30.09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7C6ACC32-C553-40C8-A7CC-BC6F840AC1C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3767053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19D424B6-35E6-42DE-A5DC-9C620B81136C}" type="datetimeFigureOut">
              <a:rPr lang="ru-RU"/>
              <a:pPr>
                <a:defRPr/>
              </a:pPr>
              <a:t>30.09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30DF83FE-F68F-45CC-A823-9452BE72E93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40908417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3DFB72B9-A3A9-4746-8C92-DCE4D374C5A9}" type="datetimeFigureOut">
              <a:rPr lang="ru-RU"/>
              <a:pPr>
                <a:defRPr/>
              </a:pPr>
              <a:t>30.09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E2F86DEF-0CEE-4A7D-9DCE-4A868D95F72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13825131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BC11BCA0-514F-4CC0-B61A-3C4E52DF3B79}" type="datetimeFigureOut">
              <a:rPr lang="ru-RU"/>
              <a:pPr>
                <a:defRPr/>
              </a:pPr>
              <a:t>30.09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pitchFamily="34" charset="0"/>
              </a:defRPr>
            </a:lvl1pPr>
          </a:lstStyle>
          <a:p>
            <a:pPr>
              <a:defRPr/>
            </a:pPr>
            <a:fld id="{68BC75D6-18CE-4ED4-923A-581908369AF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9766669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32771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E636EFCC-D7E5-482E-B49F-AC8FD7DEC8F4}" type="datetimeFigureOut">
              <a:rPr lang="ru-RU"/>
              <a:pPr>
                <a:defRPr/>
              </a:pPr>
              <a:t>30.09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</a:defRPr>
            </a:lvl1pPr>
          </a:lstStyle>
          <a:p>
            <a:pPr>
              <a:defRPr/>
            </a:pPr>
            <a:fld id="{C42EA1AC-81B7-4B1A-A433-38D085FFA8B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371265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F7CEC7E2-F7DB-4553-B910-625B115E0E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8336ADDC-10E4-46CA-985F-55FE8CBCD4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xmlns="" id="{BF20D2DF-F56A-47E2-B26F-D9042C76772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BF1AB77-4A93-4ED2-B1B1-187E2CB9BC13}" type="datetimeFigureOut">
              <a:rPr lang="ru-RU" smtClean="0"/>
              <a:pPr/>
              <a:t>30.09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AC1A543E-529A-4B84-B734-5D1BD20EFA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42ACA96F-2BBE-4A65-9A07-2203E6A99D9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7D6694-59EC-46B3-97DA-1A6A729B4EF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5479815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7" r:id="rId1"/>
    <p:sldLayoutId id="2147483988" r:id="rId2"/>
    <p:sldLayoutId id="2147483989" r:id="rId3"/>
    <p:sldLayoutId id="2147483990" r:id="rId4"/>
    <p:sldLayoutId id="2147483991" r:id="rId5"/>
    <p:sldLayoutId id="2147483992" r:id="rId6"/>
    <p:sldLayoutId id="2147483993" r:id="rId7"/>
    <p:sldLayoutId id="2147483994" r:id="rId8"/>
    <p:sldLayoutId id="2147483995" r:id="rId9"/>
    <p:sldLayoutId id="2147483996" r:id="rId10"/>
    <p:sldLayoutId id="2147483997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hyperlink" Target="https://edsoo.ru/" TargetMode="External"/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1.png"/><Relationship Id="rId4" Type="http://schemas.openxmlformats.org/officeDocument/2006/relationships/image" Target="../media/image2.png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3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3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.png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3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3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3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3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3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3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3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3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3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3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8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image" Target="../media/image41.wmf"/><Relationship Id="rId3" Type="http://schemas.openxmlformats.org/officeDocument/2006/relationships/tags" Target="../tags/tag2.xml"/><Relationship Id="rId21" Type="http://schemas.openxmlformats.org/officeDocument/2006/relationships/slideLayout" Target="../slideLayouts/slideLayout13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image" Target="../media/image40.jpeg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image" Target="../media/image39.png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notesSlide" Target="../notesSlides/notesSlide5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44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3.xml"/></Relationships>
</file>

<file path=ppt/slides/_rels/slide6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8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Заголовок 1">
            <a:extLst>
              <a:ext uri="{FF2B5EF4-FFF2-40B4-BE49-F238E27FC236}">
                <a16:creationId xmlns:a16="http://schemas.microsoft.com/office/drawing/2014/main" xmlns="" id="{0566D2B4-6753-44C5-A4DE-7ADA2DFD57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2900" y="2071678"/>
            <a:ext cx="8351838" cy="2509450"/>
          </a:xfrm>
        </p:spPr>
        <p:txBody>
          <a:bodyPr/>
          <a:lstStyle/>
          <a:p>
            <a:r>
              <a:rPr lang="ru-RU" sz="3600" b="1" dirty="0" smtClean="0">
                <a:solidFill>
                  <a:srgbClr val="110397"/>
                </a:solidFill>
                <a:latin typeface="Arial" charset="0"/>
              </a:rPr>
              <a:t/>
            </a:r>
            <a:br>
              <a:rPr lang="ru-RU" sz="3600" b="1" dirty="0" smtClean="0">
                <a:solidFill>
                  <a:srgbClr val="110397"/>
                </a:solidFill>
                <a:latin typeface="Arial" charset="0"/>
              </a:rPr>
            </a:br>
            <a:r>
              <a:rPr lang="ru-RU" sz="3600" b="1" dirty="0" smtClean="0">
                <a:solidFill>
                  <a:srgbClr val="110397"/>
                </a:solidFill>
                <a:latin typeface="Arial" charset="0"/>
              </a:rPr>
              <a:t> Обновленные ФГОС: новые механизмы повышения качества образования</a:t>
            </a:r>
            <a:r>
              <a:rPr lang="ru-RU" sz="3600" b="1" dirty="0" smtClean="0">
                <a:solidFill>
                  <a:srgbClr val="110397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br>
              <a:rPr lang="ru-RU" sz="3600" b="1" dirty="0" smtClean="0">
                <a:solidFill>
                  <a:srgbClr val="110397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altLang="ru-RU" b="1" dirty="0">
                <a:solidFill>
                  <a:srgbClr val="7030A0"/>
                </a:solidFill>
                <a:latin typeface="Arial" panose="020B0604020202020204" pitchFamily="34" charset="0"/>
              </a:rPr>
              <a:t/>
            </a:r>
            <a:br>
              <a:rPr lang="ru-RU" altLang="ru-RU" b="1" dirty="0">
                <a:solidFill>
                  <a:srgbClr val="7030A0"/>
                </a:solidFill>
                <a:latin typeface="Arial" panose="020B0604020202020204" pitchFamily="34" charset="0"/>
              </a:rPr>
            </a:br>
            <a:endParaRPr lang="ru-RU" altLang="ru-RU" sz="3200" b="1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7651" name="Подзаголовок 2">
            <a:extLst>
              <a:ext uri="{FF2B5EF4-FFF2-40B4-BE49-F238E27FC236}">
                <a16:creationId xmlns:a16="http://schemas.microsoft.com/office/drawing/2014/main" xmlns="" id="{3DD47DA4-44F7-4954-855A-63E6799FBD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143108" y="4786322"/>
            <a:ext cx="6551631" cy="1738303"/>
          </a:xfrm>
        </p:spPr>
        <p:txBody>
          <a:bodyPr/>
          <a:lstStyle/>
          <a:p>
            <a:pPr lvl="0">
              <a:defRPr/>
            </a:pPr>
            <a:r>
              <a:rPr lang="ru-RU" sz="2400" b="1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Иванова Н.Б, директор Центра модернизации общего образования РИПК и ППРО</a:t>
            </a:r>
          </a:p>
          <a:p>
            <a:pPr lvl="0">
              <a:defRPr/>
            </a:pPr>
            <a:r>
              <a:rPr lang="ru-RU" sz="2400" b="1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Февраль 2022</a:t>
            </a:r>
          </a:p>
          <a:p>
            <a:pPr lvl="0">
              <a:defRPr/>
            </a:pPr>
            <a:r>
              <a:rPr lang="ru-RU" sz="2400" b="1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т. 8918 5272444; </a:t>
            </a:r>
            <a:r>
              <a:rPr lang="en-US" sz="2400" b="1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E-mail</a:t>
            </a:r>
            <a:r>
              <a:rPr lang="ru-RU" sz="2400" b="1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:</a:t>
            </a:r>
            <a:r>
              <a:rPr lang="en-US" sz="2400" b="1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ivanovanb55@mail.ru</a:t>
            </a:r>
            <a:endParaRPr lang="ru-RU" altLang="ru-RU" sz="2400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 eaLnBrk="1" hangingPunct="1"/>
            <a:endParaRPr lang="ru-RU" altLang="ru-RU" sz="2800" b="1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 eaLnBrk="1" hangingPunct="1"/>
            <a:endParaRPr lang="ru-RU" altLang="ru-RU" sz="2800" b="1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7652" name="Рисунок 1">
            <a:extLst>
              <a:ext uri="{FF2B5EF4-FFF2-40B4-BE49-F238E27FC236}">
                <a16:creationId xmlns:a16="http://schemas.microsoft.com/office/drawing/2014/main" xmlns="" id="{4474023C-F967-4A1B-BBF4-D52B1F8D96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42863"/>
            <a:ext cx="2771775" cy="1585912"/>
          </a:xfrm>
          <a:prstGeom prst="rect">
            <a:avLst/>
          </a:prstGeom>
          <a:noFill/>
          <a:ln w="9525">
            <a:solidFill>
              <a:srgbClr val="00B05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8E2763C8-A5B0-42E9-B9E5-F96AEC440672}"/>
              </a:ext>
            </a:extLst>
          </p:cNvPr>
          <p:cNvSpPr/>
          <p:nvPr/>
        </p:nvSpPr>
        <p:spPr>
          <a:xfrm>
            <a:off x="2862263" y="42863"/>
            <a:ext cx="5957887" cy="1585912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Центр модернизации общего образования</a:t>
            </a:r>
          </a:p>
        </p:txBody>
      </p:sp>
    </p:spTree>
  </p:cSld>
  <p:clrMapOvr>
    <a:masterClrMapping/>
  </p:clrMapOvr>
  <p:transition spd="slow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40"/>
            <a:ext cx="4257676" cy="850105"/>
          </a:xfrm>
        </p:spPr>
        <p:txBody>
          <a:bodyPr>
            <a:noAutofit/>
          </a:bodyPr>
          <a:lstStyle/>
          <a:p>
            <a:pPr lvl="0"/>
            <a:r>
              <a:rPr lang="ru-RU" sz="2400" b="1" dirty="0" smtClean="0">
                <a:solidFill>
                  <a:srgbClr val="0070C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Личностные результаты </a:t>
            </a:r>
            <a:r>
              <a:rPr lang="ru-RU" sz="2400" b="1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/>
            </a:r>
            <a:br>
              <a:rPr lang="ru-RU" sz="2400" b="1" dirty="0" smtClean="0"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</a:br>
            <a:r>
              <a:rPr lang="ru-RU" sz="2400" b="1" dirty="0" smtClean="0">
                <a:solidFill>
                  <a:srgbClr val="0070C0"/>
                </a:solidFill>
                <a:latin typeface="Times New Roman" pitchFamily="18" charset="0"/>
                <a:ea typeface="Times New Roman" pitchFamily="18" charset="0"/>
                <a:cs typeface="Times New Roman" pitchFamily="18" charset="0"/>
              </a:rPr>
              <a:t>по направлениям воспитания</a:t>
            </a:r>
            <a:r>
              <a:rPr lang="ru-RU" sz="2400" b="1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:</a:t>
            </a:r>
            <a:endParaRPr lang="ru-RU" sz="2400" b="1" dirty="0">
              <a:solidFill>
                <a:srgbClr val="0070C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865933816"/>
              </p:ext>
            </p:extLst>
          </p:nvPr>
        </p:nvGraphicFramePr>
        <p:xfrm>
          <a:off x="0" y="1188720"/>
          <a:ext cx="4929190" cy="5669280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4929190"/>
              </a:tblGrid>
              <a:tr h="5526404">
                <a:tc>
                  <a:txBody>
                    <a:bodyPr/>
                    <a:lstStyle/>
                    <a:p>
                      <a:pPr marL="342900" indent="-342900" algn="l">
                        <a:buFont typeface="Arial" pitchFamily="34" charset="0"/>
                        <a:buChar char="•"/>
                      </a:pPr>
                      <a:r>
                        <a:rPr lang="ru-RU" sz="280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гражданско-патриотическое;</a:t>
                      </a:r>
                    </a:p>
                    <a:p>
                      <a:pPr marL="342900" indent="-342900" algn="l">
                        <a:buFont typeface="Arial" pitchFamily="34" charset="0"/>
                        <a:buChar char="•"/>
                      </a:pPr>
                      <a:r>
                        <a:rPr lang="ru-RU" sz="280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духовно-нравственное;</a:t>
                      </a:r>
                    </a:p>
                    <a:p>
                      <a:pPr marL="342900" indent="-342900" algn="l">
                        <a:buFont typeface="Arial" pitchFamily="34" charset="0"/>
                        <a:buChar char="•"/>
                      </a:pPr>
                      <a:r>
                        <a:rPr lang="ru-RU" sz="280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эстетическое;</a:t>
                      </a:r>
                    </a:p>
                    <a:p>
                      <a:pPr marL="342900" indent="-342900" algn="l">
                        <a:buFont typeface="Arial" pitchFamily="34" charset="0"/>
                        <a:buChar char="•"/>
                      </a:pPr>
                      <a:r>
                        <a:rPr lang="ru-RU" sz="280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физическое, </a:t>
                      </a:r>
                    </a:p>
                    <a:p>
                      <a:pPr marL="342900" indent="-342900" algn="l">
                        <a:buFont typeface="Arial" pitchFamily="34" charset="0"/>
                        <a:buChar char="•"/>
                      </a:pPr>
                      <a:r>
                        <a:rPr lang="ru-RU" sz="280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формирование культуры здоровья и </a:t>
                      </a:r>
                    </a:p>
                    <a:p>
                      <a:pPr marL="342900" indent="-342900" algn="l">
                        <a:buFont typeface="Arial" pitchFamily="34" charset="0"/>
                        <a:buChar char="•"/>
                      </a:pPr>
                      <a:r>
                        <a:rPr lang="ru-RU" sz="280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эмоционального благополучия;</a:t>
                      </a:r>
                    </a:p>
                    <a:p>
                      <a:pPr marL="342900" indent="-342900" algn="l">
                        <a:buFont typeface="Arial" pitchFamily="34" charset="0"/>
                        <a:buChar char="•"/>
                      </a:pPr>
                      <a:r>
                        <a:rPr lang="ru-RU" sz="280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трудовое;</a:t>
                      </a:r>
                    </a:p>
                    <a:p>
                      <a:pPr marL="342900" indent="-342900" algn="l">
                        <a:buFont typeface="Arial" pitchFamily="34" charset="0"/>
                        <a:buChar char="•"/>
                      </a:pPr>
                      <a:r>
                        <a:rPr lang="ru-RU" sz="280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экологическое;</a:t>
                      </a:r>
                    </a:p>
                    <a:p>
                      <a:pPr marL="342900" indent="-342900" algn="l">
                        <a:buFont typeface="Arial" pitchFamily="34" charset="0"/>
                        <a:buChar char="•"/>
                      </a:pPr>
                      <a:r>
                        <a:rPr lang="ru-RU" sz="2800" b="1" dirty="0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ценность научного познания.</a:t>
                      </a:r>
                    </a:p>
                  </a:txBody>
                  <a:tcPr marT="60960" marB="60960"/>
                </a:tc>
              </a:tr>
            </a:tbl>
          </a:graphicData>
        </a:graphic>
      </p:graphicFrame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4661096" y="0"/>
            <a:ext cx="4482904" cy="1022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Метапредметные результаты</a:t>
            </a:r>
            <a:br>
              <a: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</a:br>
            <a:r>
              <a: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Times New Roman" pitchFamily="18" charset="0"/>
                <a:ea typeface="+mj-ea"/>
                <a:cs typeface="Times New Roman" pitchFamily="18" charset="0"/>
              </a:rPr>
              <a:t>(по видам УУД):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738753826"/>
              </p:ext>
            </p:extLst>
          </p:nvPr>
        </p:nvGraphicFramePr>
        <p:xfrm>
          <a:off x="4786314" y="1285860"/>
          <a:ext cx="4143404" cy="2071702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4143404"/>
              </a:tblGrid>
              <a:tr h="2071702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>
                          <a:solidFill>
                            <a:srgbClr val="0070C0"/>
                          </a:solidFill>
                          <a:latin typeface="+mn-lt"/>
                        </a:rPr>
                        <a:t>УПД:</a:t>
                      </a:r>
                    </a:p>
                    <a:p>
                      <a:pPr marL="342900" indent="-342900">
                        <a:buAutoNum type="arabicPeriod"/>
                      </a:pPr>
                      <a:r>
                        <a:rPr lang="ru-RU" sz="2400" dirty="0" smtClean="0">
                          <a:latin typeface="+mn-lt"/>
                        </a:rPr>
                        <a:t>базовые логические,</a:t>
                      </a:r>
                    </a:p>
                    <a:p>
                      <a:pPr marL="342900" indent="-342900">
                        <a:buAutoNum type="arabicPeriod"/>
                      </a:pPr>
                      <a:r>
                        <a:rPr lang="ru-RU" sz="2400" dirty="0" smtClean="0">
                          <a:latin typeface="+mn-lt"/>
                        </a:rPr>
                        <a:t>базовые исследовательские,</a:t>
                      </a:r>
                    </a:p>
                    <a:p>
                      <a:pPr marL="342900" indent="-342900">
                        <a:buAutoNum type="arabicPeriod"/>
                      </a:pPr>
                      <a:r>
                        <a:rPr lang="ru-RU" sz="2400" dirty="0" smtClean="0">
                          <a:latin typeface="+mn-lt"/>
                        </a:rPr>
                        <a:t>работа с информацией.</a:t>
                      </a:r>
                      <a:endParaRPr lang="ru-RU" sz="2400" dirty="0">
                        <a:latin typeface="+mn-lt"/>
                      </a:endParaRPr>
                    </a:p>
                  </a:txBody>
                  <a:tcPr marT="60960" marB="60960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036902298"/>
              </p:ext>
            </p:extLst>
          </p:nvPr>
        </p:nvGraphicFramePr>
        <p:xfrm>
          <a:off x="4786314" y="3643314"/>
          <a:ext cx="4143404" cy="1219200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4143404"/>
              </a:tblGrid>
              <a:tr h="1143008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>
                          <a:solidFill>
                            <a:srgbClr val="0070C0"/>
                          </a:solidFill>
                        </a:rPr>
                        <a:t>УКД:</a:t>
                      </a:r>
                    </a:p>
                    <a:p>
                      <a:pPr marL="342900" indent="-342900">
                        <a:buAutoNum type="arabicPeriod"/>
                      </a:pPr>
                      <a:r>
                        <a:rPr lang="ru-RU" sz="2400" dirty="0" smtClean="0"/>
                        <a:t>общение,</a:t>
                      </a:r>
                    </a:p>
                    <a:p>
                      <a:pPr marL="342900" indent="-342900">
                        <a:buAutoNum type="arabicPeriod"/>
                      </a:pPr>
                      <a:r>
                        <a:rPr lang="ru-RU" sz="2400" dirty="0" smtClean="0"/>
                        <a:t>совместная деятельность.</a:t>
                      </a:r>
                    </a:p>
                  </a:txBody>
                  <a:tcPr marT="60960" marB="60960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085121818"/>
              </p:ext>
            </p:extLst>
          </p:nvPr>
        </p:nvGraphicFramePr>
        <p:xfrm>
          <a:off x="4857752" y="5143512"/>
          <a:ext cx="4071966" cy="1357322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4071966"/>
              </a:tblGrid>
              <a:tr h="1357322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>
                          <a:solidFill>
                            <a:srgbClr val="0070C0"/>
                          </a:solidFill>
                        </a:rPr>
                        <a:t>УРД:</a:t>
                      </a:r>
                    </a:p>
                    <a:p>
                      <a:pPr marL="342900" indent="-342900">
                        <a:buAutoNum type="arabicPeriod"/>
                      </a:pPr>
                      <a:r>
                        <a:rPr lang="ru-RU" sz="2400" dirty="0" smtClean="0"/>
                        <a:t>самоорганизация,</a:t>
                      </a:r>
                    </a:p>
                    <a:p>
                      <a:pPr marL="342900" indent="-342900">
                        <a:buAutoNum type="arabicPeriod"/>
                      </a:pPr>
                      <a:r>
                        <a:rPr lang="ru-RU" sz="2400" dirty="0" smtClean="0"/>
                        <a:t>самоконтроль.</a:t>
                      </a:r>
                    </a:p>
                  </a:txBody>
                  <a:tcPr marT="60960" marB="60960">
                    <a:solidFill>
                      <a:schemeClr val="bg1">
                        <a:lumMod val="8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="" val="4241937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2910" y="214290"/>
            <a:ext cx="7886700" cy="714357"/>
          </a:xfrm>
        </p:spPr>
        <p:txBody>
          <a:bodyPr>
            <a:normAutofit/>
          </a:bodyPr>
          <a:lstStyle/>
          <a:p>
            <a:pPr algn="ctr"/>
            <a:r>
              <a:rPr lang="ru-RU" sz="28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Планируемые предметные результаты</a:t>
            </a:r>
            <a:endParaRPr lang="ru-RU" sz="2800" b="1" dirty="0">
              <a:solidFill>
                <a:srgbClr val="7030A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179512" y="1052736"/>
            <a:ext cx="8750206" cy="5590974"/>
          </a:xfrm>
        </p:spPr>
        <p:txBody>
          <a:bodyPr>
            <a:normAutofit/>
          </a:bodyPr>
          <a:lstStyle/>
          <a:p>
            <a:r>
              <a:rPr lang="ru-RU" sz="24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Русский язык. </a:t>
            </a:r>
            <a:r>
              <a:rPr lang="ru-RU" sz="24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ередача в устной или письменной форме содержания прослушанных или прочитанных текстов с заданной степенью свернутости: подробное изложение (исходный текст объемом не менее 280 слов), сжатое и выборочное изложение (исходный текст объемом не менее 300 слов);</a:t>
            </a:r>
          </a:p>
          <a:p>
            <a:r>
              <a:rPr lang="ru-RU" sz="24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Литература. </a:t>
            </a:r>
            <a:r>
              <a:rPr lang="ru-RU" sz="24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Устный пересказ прочитанного или прослушанного текста объемом не менее 150 слов; совершенствование умения выразительно (с учетом индивидуальных особенностей обучающихся) читать, в том числе наизусть, не менее 12 произведений и (или) фрагментов; совершенствование умения писать сочинение-рассуждение по заданной теме с опорой на прочитанные произведения (не менее 250 слов)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204463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0034" y="285728"/>
            <a:ext cx="8229600" cy="928694"/>
          </a:xfrm>
        </p:spPr>
        <p:txBody>
          <a:bodyPr/>
          <a:lstStyle/>
          <a:p>
            <a:r>
              <a:rPr lang="ru-RU" sz="28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Требования к условиям реализации ФГОС</a:t>
            </a:r>
            <a:endParaRPr lang="ru-RU" sz="2800" b="1" dirty="0">
              <a:solidFill>
                <a:srgbClr val="7030A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158" y="1357298"/>
            <a:ext cx="8572560" cy="5072098"/>
          </a:xfrm>
        </p:spPr>
        <p:txBody>
          <a:bodyPr/>
          <a:lstStyle/>
          <a:p>
            <a:pPr>
              <a:buNone/>
            </a:pPr>
            <a:r>
              <a:rPr lang="ru-RU" sz="2400" dirty="0" smtClean="0">
                <a:solidFill>
                  <a:srgbClr val="000066"/>
                </a:solidFill>
                <a:latin typeface="Times New Roman" pitchFamily="18" charset="0"/>
                <a:cs typeface="Times New Roman" pitchFamily="18" charset="0"/>
              </a:rPr>
              <a:t>34.2. В целях обеспечения реализации программы начального общего образования в Организации для участников образовательных отношений должны создаваться условия, обеспечивающие возможность:</a:t>
            </a:r>
          </a:p>
          <a:p>
            <a:r>
              <a:rPr lang="ru-RU" sz="2400" b="1" dirty="0" smtClean="0">
                <a:solidFill>
                  <a:srgbClr val="000066"/>
                </a:solidFill>
                <a:latin typeface="Times New Roman" pitchFamily="18" charset="0"/>
                <a:cs typeface="Times New Roman" pitchFamily="18" charset="0"/>
              </a:rPr>
              <a:t>формирования функциональной грамотности обучающихся (способности решать учебные задачи и жизненные проблемные ситуации на основе сформированных предметных, </a:t>
            </a:r>
            <a:r>
              <a:rPr lang="ru-RU" sz="2400" b="1" dirty="0" err="1" smtClean="0">
                <a:solidFill>
                  <a:srgbClr val="000066"/>
                </a:solidFill>
                <a:latin typeface="Times New Roman" pitchFamily="18" charset="0"/>
                <a:cs typeface="Times New Roman" pitchFamily="18" charset="0"/>
              </a:rPr>
              <a:t>метапредметных</a:t>
            </a:r>
            <a:r>
              <a:rPr lang="ru-RU" sz="2400" b="1" dirty="0" smtClean="0">
                <a:solidFill>
                  <a:srgbClr val="000066"/>
                </a:solidFill>
                <a:latin typeface="Times New Roman" pitchFamily="18" charset="0"/>
                <a:cs typeface="Times New Roman" pitchFamily="18" charset="0"/>
              </a:rPr>
              <a:t> и универсальных способов деятельности), включающей овладение ключевыми компетенциями, составляющими основу готовности к успешному взаимодействию с изменяющимся миром и дальнейшему успешному образованию;</a:t>
            </a:r>
            <a:endParaRPr lang="ru-RU" sz="2400" dirty="0" smtClean="0">
              <a:solidFill>
                <a:srgbClr val="000066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Заголовок 1"/>
          <p:cNvSpPr>
            <a:spLocks noGrp="1"/>
          </p:cNvSpPr>
          <p:nvPr>
            <p:ph type="title"/>
          </p:nvPr>
        </p:nvSpPr>
        <p:spPr>
          <a:xfrm>
            <a:off x="628650" y="214291"/>
            <a:ext cx="7886700" cy="571504"/>
          </a:xfrm>
        </p:spPr>
        <p:txBody>
          <a:bodyPr/>
          <a:lstStyle/>
          <a:p>
            <a:r>
              <a:rPr lang="ru-RU" sz="28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Статус ФГ в системе результатов по ФГОС</a:t>
            </a:r>
          </a:p>
        </p:txBody>
      </p:sp>
      <p:graphicFrame>
        <p:nvGraphicFramePr>
          <p:cNvPr id="4" name="Объект 3">
            <a:extLst>
              <a:ext uri="{FF2B5EF4-FFF2-40B4-BE49-F238E27FC236}"/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285720" y="785794"/>
          <a:ext cx="8572560" cy="60722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Rectangle 2"/>
          <p:cNvSpPr>
            <a:spLocks noGrp="1" noChangeArrowheads="1"/>
          </p:cNvSpPr>
          <p:nvPr>
            <p:ph type="title"/>
          </p:nvPr>
        </p:nvSpPr>
        <p:spPr>
          <a:xfrm>
            <a:off x="0" y="0"/>
            <a:ext cx="9144000" cy="1071563"/>
          </a:xfrm>
          <a:solidFill>
            <a:srgbClr val="FFC000"/>
          </a:solidFill>
        </p:spPr>
        <p:txBody>
          <a:bodyPr>
            <a:normAutofit fontScale="90000"/>
          </a:bodyPr>
          <a:lstStyle/>
          <a:p>
            <a:r>
              <a:rPr lang="ru-RU" altLang="ru-RU" sz="2000" b="1" smtClean="0">
                <a:solidFill>
                  <a:srgbClr val="D53205"/>
                </a:solidFill>
              </a:rPr>
              <a:t/>
            </a:r>
            <a:br>
              <a:rPr lang="ru-RU" altLang="ru-RU" sz="2000" b="1" smtClean="0">
                <a:solidFill>
                  <a:srgbClr val="D53205"/>
                </a:solidFill>
              </a:rPr>
            </a:br>
            <a:r>
              <a:rPr lang="ru-RU" altLang="ru-RU" sz="2000" b="1" smtClean="0">
                <a:solidFill>
                  <a:srgbClr val="000066"/>
                </a:solidFill>
              </a:rPr>
              <a:t>Приказ Министерства просвещения Российской Федерации и приказ Федеральной службы по надзору в сфере образования и науки от 06.05.2019 № 590/219 (с изменениями от 24.12.2019 № 1718/716) </a:t>
            </a:r>
            <a:r>
              <a:rPr lang="ru-RU" altLang="ru-RU" sz="2400" b="1" smtClean="0">
                <a:solidFill>
                  <a:srgbClr val="D53205"/>
                </a:solidFill>
              </a:rPr>
              <a:t/>
            </a:r>
            <a:br>
              <a:rPr lang="ru-RU" altLang="ru-RU" sz="2400" b="1" smtClean="0">
                <a:solidFill>
                  <a:srgbClr val="D53205"/>
                </a:solidFill>
              </a:rPr>
            </a:br>
            <a:endParaRPr lang="ru-RU" altLang="ru-RU" sz="2400" b="1" smtClean="0">
              <a:solidFill>
                <a:srgbClr val="D53205"/>
              </a:solidFill>
            </a:endParaRPr>
          </a:p>
        </p:txBody>
      </p:sp>
      <p:sp>
        <p:nvSpPr>
          <p:cNvPr id="6147" name="Rectangle 3">
            <a:extLst>
              <a:ext uri="{FF2B5EF4-FFF2-40B4-BE49-F238E27FC236}"/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428625" y="1000125"/>
            <a:ext cx="8229600" cy="1000125"/>
          </a:xfrm>
        </p:spPr>
        <p:txBody>
          <a:bodyPr/>
          <a:lstStyle/>
          <a:p>
            <a:pPr marL="342713" indent="-342713" algn="ctr">
              <a:lnSpc>
                <a:spcPct val="90000"/>
              </a:lnSpc>
              <a:buFontTx/>
              <a:buNone/>
              <a:defRPr/>
            </a:pPr>
            <a:r>
              <a:rPr lang="ru-RU" sz="2000" b="1" dirty="0" smtClean="0">
                <a:solidFill>
                  <a:srgbClr val="993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«</a:t>
            </a:r>
            <a:r>
              <a:rPr lang="ru-RU" sz="2000" b="1" dirty="0">
                <a:solidFill>
                  <a:srgbClr val="993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Методология и критерии оценки качества общего образования в </a:t>
            </a:r>
            <a:r>
              <a:rPr lang="ru-RU" sz="2000" b="1" dirty="0" smtClean="0">
                <a:solidFill>
                  <a:srgbClr val="993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 ОО </a:t>
            </a:r>
            <a:r>
              <a:rPr lang="ru-RU" sz="2000" b="1" dirty="0">
                <a:solidFill>
                  <a:srgbClr val="993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itchFamily="18" charset="0"/>
                <a:cs typeface="Times New Roman" pitchFamily="18" charset="0"/>
              </a:rPr>
              <a:t>на основе практики международных исследований качества подготовки обучающихся»</a:t>
            </a:r>
          </a:p>
          <a:p>
            <a:pPr marL="342713" indent="-342713" algn="ctr">
              <a:lnSpc>
                <a:spcPct val="90000"/>
              </a:lnSpc>
              <a:buFontTx/>
              <a:buNone/>
              <a:defRPr/>
            </a:pPr>
            <a:endParaRPr lang="ru-RU" sz="2800" b="1" i="1" dirty="0">
              <a:solidFill>
                <a:srgbClr val="990099"/>
              </a:solidFill>
            </a:endParaRPr>
          </a:p>
        </p:txBody>
      </p:sp>
      <p:sp>
        <p:nvSpPr>
          <p:cNvPr id="78852" name="Объект 2"/>
          <p:cNvSpPr txBox="1">
            <a:spLocks/>
          </p:cNvSpPr>
          <p:nvPr/>
        </p:nvSpPr>
        <p:spPr bwMode="auto">
          <a:xfrm>
            <a:off x="0" y="2500313"/>
            <a:ext cx="8929688" cy="407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449263">
              <a:spcBef>
                <a:spcPct val="20000"/>
              </a:spcBef>
              <a:buFont typeface="Arial" pitchFamily="34" charset="0"/>
              <a:buChar char="•"/>
            </a:pPr>
            <a:endParaRPr lang="ru-RU" sz="3200">
              <a:latin typeface="Calibri" pitchFamily="34" charset="0"/>
            </a:endParaRPr>
          </a:p>
        </p:txBody>
      </p:sp>
      <p:graphicFrame>
        <p:nvGraphicFramePr>
          <p:cNvPr id="5" name="Содержимое 3"/>
          <p:cNvGraphicFramePr>
            <a:graphicFrameLocks noGrp="1"/>
          </p:cNvGraphicFramePr>
          <p:nvPr/>
        </p:nvGraphicFramePr>
        <p:xfrm>
          <a:off x="0" y="1928813"/>
          <a:ext cx="9001125" cy="4817364"/>
        </p:xfrm>
        <a:graphic>
          <a:graphicData uri="http://schemas.openxmlformats.org/drawingml/2006/table">
            <a:tbl>
              <a:tblPr/>
              <a:tblGrid>
                <a:gridCol w="2155825"/>
                <a:gridCol w="2344738"/>
                <a:gridCol w="4500562"/>
              </a:tblGrid>
              <a:tr h="3603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cs typeface="Arial" pitchFamily="34" charset="0"/>
                        </a:rPr>
                        <a:t>PISA</a:t>
                      </a:r>
                      <a:endParaRPr kumimoji="0" lang="ru-RU" sz="18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cs typeface="Arial" pitchFamily="34" charset="0"/>
                        </a:rPr>
                        <a:t>PISA</a:t>
                      </a:r>
                      <a:endParaRPr kumimoji="0" lang="ru-RU" sz="1800" b="1" i="0" u="none" strike="noStrike" cap="none" normalizeH="0" baseline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Calibri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8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cs typeface="Arial" pitchFamily="34" charset="0"/>
                        </a:rPr>
                        <a:t>ФГОС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2587625">
                <a:tc>
                  <a:txBody>
                    <a:bodyPr/>
                    <a:lstStyle/>
                    <a:p>
                      <a:pPr marL="0" marR="0" lvl="0" indent="179388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Interpreting refers to the process of making meaning from something that is not stated.</a:t>
                      </a:r>
                      <a:endParaRPr kumimoji="0" lang="ru-RU" sz="16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179388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When interpreting, a reader is identifying the underlying assumptions or implications of part or all of the text.</a:t>
                      </a:r>
                      <a:endParaRPr kumimoji="0" lang="ru-RU" sz="16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370" marR="39370" marT="64770" marB="6477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179388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нтерпретация относится к процессу поиска смысла в неочевидном. При интерпретации читатель определяет основные предположения или значения части текста или всего текста.</a:t>
                      </a:r>
                    </a:p>
                  </a:txBody>
                  <a:tcPr marL="39370" marR="39370" marT="64770" marB="6477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179388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ОБ) 8) овладение приемами поиска социальной информации по заданной теме в различных ее адаптированных источниках (материалы СМИ, учебный текст, фото- и видеоизображения, диаграммы, графики); умение соотносить содержание нескольких источников;</a:t>
                      </a:r>
                    </a:p>
                    <a:p>
                      <a:pPr marL="0" marR="0" lvl="0" indent="179388" algn="just" defTabSz="914400" rtl="0" eaLnBrk="1" fontAlgn="base" latinLnBrk="0" hangingPunct="1">
                        <a:lnSpc>
                          <a:spcPct val="115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ЛИ) умение интерпретировать литературные произведения с учетом неоднозначности художественных смыслов;</a:t>
                      </a:r>
                    </a:p>
                  </a:txBody>
                  <a:tcPr marL="39370" marR="39370" marT="64770" marB="6477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D0D8E8"/>
                    </a:solidFill>
                  </a:tcPr>
                </a:tc>
              </a:tr>
              <a:tr h="176847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) Explain phenomena scientifically - recognise, offer and evaluate explanations for a range of natural and technological phenomena.</a:t>
                      </a:r>
                      <a:endParaRPr kumimoji="0" lang="ru-RU" sz="1600" b="0" i="0" u="none" strike="noStrike" cap="none" normalizeH="0" baseline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) Научно объяснять явления - определять, предлагать и оценивать объяснения широкого спектра научных и технологических явлений.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) Научно объяснять явления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6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ФИ) - формирование умения объяснять физические процессы с опорой на изученные свойства физических явлений, физические законы и теоретические закономерности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Заголовок 1">
            <a:extLst>
              <a:ext uri="{FF2B5EF4-FFF2-40B4-BE49-F238E27FC236}">
                <a16:creationId xmlns:a16="http://schemas.microsoft.com/office/drawing/2014/main" xmlns="" id="{8C50CEF6-E03C-44CA-9773-BF7C0F2228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1"/>
            <a:ext cx="8229600" cy="620688"/>
          </a:xfrm>
        </p:spPr>
        <p:txBody>
          <a:bodyPr/>
          <a:lstStyle/>
          <a:p>
            <a:pPr eaLnBrk="1" hangingPunct="1"/>
            <a:r>
              <a:rPr lang="ru-RU" altLang="ru-RU" sz="28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новная образовательная </a:t>
            </a:r>
            <a:r>
              <a:rPr lang="ru-RU" altLang="ru-RU" sz="28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грамма ООО</a:t>
            </a:r>
            <a:endParaRPr lang="ru-RU" altLang="ru-RU" sz="28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3330" name="Group 18">
            <a:extLst>
              <a:ext uri="{FF2B5EF4-FFF2-40B4-BE49-F238E27FC236}">
                <a16:creationId xmlns:a16="http://schemas.microsoft.com/office/drawing/2014/main" xmlns="" id="{2ABC3424-10DA-40DA-B0C9-0E28B33A71A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3768891480"/>
              </p:ext>
            </p:extLst>
          </p:nvPr>
        </p:nvGraphicFramePr>
        <p:xfrm>
          <a:off x="0" y="620690"/>
          <a:ext cx="9144000" cy="6140689"/>
        </p:xfrm>
        <a:graphic>
          <a:graphicData uri="http://schemas.openxmlformats.org/drawingml/2006/table">
            <a:tbl>
              <a:tblPr/>
              <a:tblGrid>
                <a:gridCol w="269979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42069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02351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37201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левой</a:t>
                      </a:r>
                    </a:p>
                  </a:txBody>
                  <a:tcPr marL="91435" marR="91435" marT="45726" marB="45726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держательный</a:t>
                      </a:r>
                    </a:p>
                  </a:txBody>
                  <a:tcPr marL="91435" marR="91435" marT="45726" marB="45726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ганизационный</a:t>
                      </a:r>
                    </a:p>
                  </a:txBody>
                  <a:tcPr marL="91435" marR="91435" marT="45726" marB="45726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683477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110397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яснительная записка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110397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110397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анируемые результаты освоения обучающимися ООП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110397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110397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истема оценки достижения планируемых результатов освоения ООП</a:t>
                      </a:r>
                    </a:p>
                  </a:txBody>
                  <a:tcPr marL="91435" marR="91435" marT="45726" marB="45726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66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грамма формирования УУД 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C3300"/>
                        </a:buClr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000066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C33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66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бочие программы учебных предметов, курсов и курсов внеурочной  деятельности;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C3300"/>
                        </a:buClr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C33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бочая программа воспитания</a:t>
                      </a:r>
                      <a:endParaRPr kumimoji="0" lang="ru-RU" altLang="ru-RU" sz="2400" b="1" i="1" u="none" strike="noStrike" cap="none" normalizeH="0" baseline="0" dirty="0">
                        <a:ln>
                          <a:noFill/>
                        </a:ln>
                        <a:solidFill>
                          <a:srgbClr val="000066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C3300"/>
                        </a:buClr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000066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C33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0066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грамма коррекционной работы</a:t>
                      </a:r>
                    </a:p>
                  </a:txBody>
                  <a:tcPr marL="91435" marR="91435" marT="45726" marB="45726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C3300"/>
                        </a:buClr>
                        <a:buSzTx/>
                        <a:buFontTx/>
                        <a:buChar char="•"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110397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чебный план;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C3300"/>
                        </a:buClr>
                        <a:buSzTx/>
                        <a:buFontTx/>
                        <a:buChar char="•"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110397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C3300"/>
                        </a:buClr>
                        <a:buSzTx/>
                        <a:buFontTx/>
                        <a:buChar char="•"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110397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ан внеурочной деятельности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C3300"/>
                        </a:buClr>
                        <a:buSzTx/>
                        <a:buFontTx/>
                        <a:buChar char="•"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110397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C3300"/>
                        </a:buClr>
                        <a:buSzTx/>
                        <a:buFontTx/>
                        <a:buChar char="•"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110397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лендарный учебный график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C3300"/>
                        </a:buClr>
                        <a:buSzTx/>
                        <a:buFontTx/>
                        <a:buChar char="•"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110397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C3300"/>
                        </a:buClr>
                        <a:buSzTx/>
                        <a:buFontTx/>
                        <a:buChar char="•"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лендарный план воспитательной работы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C3300"/>
                        </a:buClr>
                        <a:buSzTx/>
                        <a:buFontTx/>
                        <a:buChar char="•"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C3300"/>
                        </a:buClr>
                        <a:buSzTx/>
                        <a:buFontTx/>
                        <a:buChar char="•"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110397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истема условий реализации ООП</a:t>
                      </a: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274E75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5" marR="91435" marT="45726" marB="45726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Заголовок 1">
            <a:extLst>
              <a:ext uri="{FF2B5EF4-FFF2-40B4-BE49-F238E27FC236}">
                <a16:creationId xmlns:a16="http://schemas.microsoft.com/office/drawing/2014/main" xmlns="" id="{8C50CEF6-E03C-44CA-9773-BF7C0F2228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313" y="1"/>
            <a:ext cx="8229600" cy="620688"/>
          </a:xfrm>
        </p:spPr>
        <p:txBody>
          <a:bodyPr/>
          <a:lstStyle/>
          <a:p>
            <a:pPr eaLnBrk="1" hangingPunct="1"/>
            <a:r>
              <a:rPr lang="ru-RU" altLang="ru-RU" sz="3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ГОС 2022: ООП ООО</a:t>
            </a:r>
            <a:endParaRPr lang="ru-RU" altLang="ru-RU" sz="3600" b="1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3330" name="Group 18">
            <a:extLst>
              <a:ext uri="{FF2B5EF4-FFF2-40B4-BE49-F238E27FC236}">
                <a16:creationId xmlns:a16="http://schemas.microsoft.com/office/drawing/2014/main" xmlns="" id="{2ABC3424-10DA-40DA-B0C9-0E28B33A71A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3768891480"/>
              </p:ext>
            </p:extLst>
          </p:nvPr>
        </p:nvGraphicFramePr>
        <p:xfrm>
          <a:off x="0" y="620690"/>
          <a:ext cx="9144000" cy="6217944"/>
        </p:xfrm>
        <a:graphic>
          <a:graphicData uri="http://schemas.openxmlformats.org/drawingml/2006/table">
            <a:tbl>
              <a:tblPr/>
              <a:tblGrid>
                <a:gridCol w="269979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42069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02351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437626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левой</a:t>
                      </a:r>
                    </a:p>
                  </a:txBody>
                  <a:tcPr marL="91435" marR="91435" marT="45726" marB="45726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держательный</a:t>
                      </a:r>
                    </a:p>
                  </a:txBody>
                  <a:tcPr marL="91435" marR="91435" marT="45726" marB="45726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ганизационный</a:t>
                      </a:r>
                    </a:p>
                  </a:txBody>
                  <a:tcPr marL="91435" marR="91435" marT="45726" marB="45726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5513956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110397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яснительная записка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110397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110397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анируемые результаты освоения обучающимися ООП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110397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110397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истема оценки достижения планируемых результатов освоения ООП</a:t>
                      </a:r>
                    </a:p>
                  </a:txBody>
                  <a:tcPr marL="91435" marR="91435" marT="45726" marB="45726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C33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бочие </a:t>
                      </a:r>
                      <a:r>
                        <a:rPr kumimoji="0" lang="ru-RU" altLang="ru-RU" sz="2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граммы учебных предметов, </a:t>
                      </a:r>
                      <a:r>
                        <a:rPr kumimoji="0" lang="ru-RU" altLang="ru-RU" sz="2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чебных курсов, </a:t>
                      </a:r>
                      <a:r>
                        <a:rPr kumimoji="0" lang="ru-RU" altLang="ru-RU" sz="22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урсов внеурочной  </a:t>
                      </a:r>
                      <a:r>
                        <a:rPr kumimoji="0" lang="ru-RU" altLang="ru-RU" sz="2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ятельности, учебных модулей;</a:t>
                      </a: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C3300"/>
                        </a:buClr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66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C33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66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грамма формирования УУД </a:t>
                      </a: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000066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C3300"/>
                        </a:buClr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C33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бочая программа воспитания</a:t>
                      </a:r>
                      <a:endParaRPr kumimoji="0" lang="ru-RU" altLang="ru-RU" sz="2400" b="1" i="1" u="none" strike="noStrike" cap="none" normalizeH="0" baseline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C3300"/>
                        </a:buClr>
                        <a:buSzTx/>
                        <a:buFontTx/>
                        <a:buNone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000066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C3300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грамма коррекционной работы</a:t>
                      </a:r>
                    </a:p>
                  </a:txBody>
                  <a:tcPr marL="91435" marR="91435" marT="45726" marB="45726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C3300"/>
                        </a:buClr>
                        <a:buSzTx/>
                        <a:buFontTx/>
                        <a:buChar char="•"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110397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чебный план;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C3300"/>
                        </a:buClr>
                        <a:buSzTx/>
                        <a:buFontTx/>
                        <a:buChar char="•"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110397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C3300"/>
                        </a:buClr>
                        <a:buSzTx/>
                        <a:buFontTx/>
                        <a:buChar char="•"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110397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лан внеурочной деятельности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C3300"/>
                        </a:buClr>
                        <a:buSzTx/>
                        <a:buFontTx/>
                        <a:buChar char="•"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110397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C3300"/>
                        </a:buClr>
                        <a:buSzTx/>
                        <a:buFontTx/>
                        <a:buChar char="•"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110397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лендарный учебный график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C3300"/>
                        </a:buClr>
                        <a:buSzTx/>
                        <a:buFontTx/>
                        <a:buChar char="•"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110397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C3300"/>
                        </a:buClr>
                        <a:buSzTx/>
                        <a:buFontTx/>
                        <a:buChar char="•"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лендарный план воспитательной работы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C3300"/>
                        </a:buClr>
                        <a:buSzTx/>
                        <a:buFontTx/>
                        <a:buChar char="•"/>
                        <a:tabLst/>
                      </a:pPr>
                      <a:endParaRPr kumimoji="0" lang="ru-RU" altLang="ru-RU" sz="2400" b="1" i="0" u="none" strike="noStrike" cap="none" normalizeH="0" baseline="0" dirty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rgbClr val="CC3300"/>
                        </a:buClr>
                        <a:buSzTx/>
                        <a:buFontTx/>
                        <a:buChar char="•"/>
                        <a:tabLst/>
                      </a:pPr>
                      <a:r>
                        <a:rPr kumimoji="0" lang="ru-RU" altLang="ru-RU" sz="2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110397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истема условий реализации ООП</a:t>
                      </a:r>
                      <a:endParaRPr kumimoji="0" lang="ru-RU" altLang="ru-RU" sz="2400" b="0" i="0" u="none" strike="noStrike" cap="none" normalizeH="0" baseline="0" dirty="0">
                        <a:ln>
                          <a:noFill/>
                        </a:ln>
                        <a:solidFill>
                          <a:srgbClr val="274E75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91435" marR="91435" marT="45726" marB="45726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7F3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</p:spTree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39718"/>
          </a:xfrm>
        </p:spPr>
        <p:txBody>
          <a:bodyPr/>
          <a:lstStyle/>
          <a:p>
            <a:pPr algn="ctr"/>
            <a:r>
              <a:rPr lang="ru-RU" sz="24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ФГОС: Рабочая программа учебного предмета</a:t>
            </a:r>
            <a:endParaRPr lang="ru-RU" sz="2400" b="1" dirty="0">
              <a:solidFill>
                <a:srgbClr val="7030A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142844" y="785794"/>
            <a:ext cx="8786874" cy="5857916"/>
          </a:xfrm>
        </p:spPr>
        <p:txBody>
          <a:bodyPr>
            <a:normAutofit lnSpcReduction="10000"/>
          </a:bodyPr>
          <a:lstStyle/>
          <a:p>
            <a:pPr>
              <a:buNone/>
            </a:pPr>
            <a:r>
              <a:rPr lang="ru-RU" sz="1800" b="1" dirty="0" smtClean="0">
                <a:solidFill>
                  <a:srgbClr val="000066"/>
                </a:solidFill>
                <a:latin typeface="Times New Roman" pitchFamily="18" charset="0"/>
                <a:cs typeface="Times New Roman" pitchFamily="18" charset="0"/>
              </a:rPr>
              <a:t>Рабочие программы учебных предметов, учебных курсов </a:t>
            </a:r>
            <a:r>
              <a:rPr lang="ru-RU" sz="18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(в том числе внеурочной деятельности), </a:t>
            </a:r>
            <a:r>
              <a:rPr lang="ru-RU" sz="1800" b="1" dirty="0" smtClean="0">
                <a:solidFill>
                  <a:srgbClr val="000066"/>
                </a:solidFill>
                <a:latin typeface="Times New Roman" pitchFamily="18" charset="0"/>
                <a:cs typeface="Times New Roman" pitchFamily="18" charset="0"/>
              </a:rPr>
              <a:t>учебных модулей должны включать:</a:t>
            </a:r>
          </a:p>
          <a:p>
            <a:pPr>
              <a:buNone/>
            </a:pPr>
            <a:r>
              <a:rPr lang="ru-RU" sz="2000" b="1" dirty="0" smtClean="0">
                <a:solidFill>
                  <a:srgbClr val="000066"/>
                </a:solidFill>
                <a:latin typeface="Times New Roman" pitchFamily="18" charset="0"/>
                <a:cs typeface="Times New Roman" pitchFamily="18" charset="0"/>
              </a:rPr>
              <a:t>1. содержание </a:t>
            </a:r>
            <a:r>
              <a:rPr lang="ru-RU" sz="2000" dirty="0" smtClean="0">
                <a:solidFill>
                  <a:srgbClr val="000066"/>
                </a:solidFill>
                <a:latin typeface="Times New Roman" pitchFamily="18" charset="0"/>
                <a:cs typeface="Times New Roman" pitchFamily="18" charset="0"/>
              </a:rPr>
              <a:t>учебного предмета, учебного курса  …;</a:t>
            </a:r>
          </a:p>
          <a:p>
            <a:pPr>
              <a:buNone/>
            </a:pPr>
            <a:r>
              <a:rPr lang="ru-RU" sz="2000" b="1" dirty="0" smtClean="0">
                <a:solidFill>
                  <a:srgbClr val="000066"/>
                </a:solidFill>
                <a:latin typeface="Times New Roman" pitchFamily="18" charset="0"/>
                <a:cs typeface="Times New Roman" pitchFamily="18" charset="0"/>
              </a:rPr>
              <a:t>2. планируемые результаты </a:t>
            </a:r>
            <a:r>
              <a:rPr lang="ru-RU" sz="2000" dirty="0" smtClean="0">
                <a:solidFill>
                  <a:srgbClr val="000066"/>
                </a:solidFill>
                <a:latin typeface="Times New Roman" pitchFamily="18" charset="0"/>
                <a:cs typeface="Times New Roman" pitchFamily="18" charset="0"/>
              </a:rPr>
              <a:t>освоения учебного предмета, …;</a:t>
            </a:r>
          </a:p>
          <a:p>
            <a:pPr>
              <a:buNone/>
            </a:pPr>
            <a:r>
              <a:rPr lang="ru-RU" sz="2000" b="1" dirty="0" smtClean="0">
                <a:solidFill>
                  <a:srgbClr val="000066"/>
                </a:solidFill>
                <a:latin typeface="Times New Roman" pitchFamily="18" charset="0"/>
                <a:cs typeface="Times New Roman" pitchFamily="18" charset="0"/>
              </a:rPr>
              <a:t>3. тематическое планирование </a:t>
            </a:r>
            <a:r>
              <a:rPr lang="ru-RU" sz="2000" dirty="0" smtClean="0">
                <a:solidFill>
                  <a:srgbClr val="000066"/>
                </a:solidFill>
                <a:latin typeface="Times New Roman" pitchFamily="18" charset="0"/>
                <a:cs typeface="Times New Roman" pitchFamily="18" charset="0"/>
              </a:rPr>
              <a:t>с указанием кол-ва часов, отводимых на освоение каждой темы учебного предмета,  и </a:t>
            </a:r>
            <a:r>
              <a:rPr lang="ru-RU" sz="2000" b="1" dirty="0" smtClean="0">
                <a:solidFill>
                  <a:srgbClr val="000066"/>
                </a:solidFill>
                <a:latin typeface="Times New Roman" pitchFamily="18" charset="0"/>
                <a:cs typeface="Times New Roman" pitchFamily="18" charset="0"/>
              </a:rPr>
              <a:t>возможность использования по этой теме электронных (цифровых) образовательных ресурсов, являющихся учебно-методическими материалами (</a:t>
            </a:r>
            <a:r>
              <a:rPr lang="ru-RU" sz="2000" b="1" dirty="0" err="1" smtClean="0">
                <a:solidFill>
                  <a:srgbClr val="000066"/>
                </a:solidFill>
                <a:latin typeface="Times New Roman" pitchFamily="18" charset="0"/>
                <a:cs typeface="Times New Roman" pitchFamily="18" charset="0"/>
              </a:rPr>
              <a:t>мультимедийные</a:t>
            </a:r>
            <a:r>
              <a:rPr lang="ru-RU" sz="2000" b="1" dirty="0" smtClean="0">
                <a:solidFill>
                  <a:srgbClr val="000066"/>
                </a:solidFill>
                <a:latin typeface="Times New Roman" pitchFamily="18" charset="0"/>
                <a:cs typeface="Times New Roman" pitchFamily="18" charset="0"/>
              </a:rPr>
              <a:t> программы, электронные учебники и задачники, электронные библиотеки, виртуальные лаборатории, игровые программы, коллекции цифровых образовательных ресурсов), используемыми для обучения и воспитания различных групп пользователей, представленными в электронном (цифровом) виде и реализующими дидактические возможности ИКТ, содержание которых соответствует законодательству об образовании.</a:t>
            </a:r>
            <a:endParaRPr lang="ru-RU" sz="2000" dirty="0" smtClean="0">
              <a:solidFill>
                <a:srgbClr val="000066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2000" dirty="0" smtClean="0">
                <a:solidFill>
                  <a:srgbClr val="000066"/>
                </a:solidFill>
                <a:latin typeface="Times New Roman" pitchFamily="18" charset="0"/>
                <a:cs typeface="Times New Roman" pitchFamily="18" charset="0"/>
              </a:rPr>
              <a:t>Рабочие программы учебных курсов внеурочной деятельности также должны содержать указание </a:t>
            </a:r>
            <a:r>
              <a:rPr lang="ru-RU" sz="2000" b="1" dirty="0" smtClean="0">
                <a:solidFill>
                  <a:srgbClr val="000066"/>
                </a:solidFill>
                <a:latin typeface="Times New Roman" pitchFamily="18" charset="0"/>
                <a:cs typeface="Times New Roman" pitchFamily="18" charset="0"/>
              </a:rPr>
              <a:t>на форму проведения занятий</a:t>
            </a:r>
            <a:r>
              <a:rPr lang="ru-RU" sz="2000" dirty="0" smtClean="0">
                <a:solidFill>
                  <a:srgbClr val="000066"/>
                </a:solidFill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r>
              <a:rPr lang="ru-RU" sz="2000" dirty="0" smtClean="0">
                <a:solidFill>
                  <a:srgbClr val="000066"/>
                </a:solidFill>
                <a:latin typeface="Times New Roman" pitchFamily="18" charset="0"/>
                <a:cs typeface="Times New Roman" pitchFamily="18" charset="0"/>
              </a:rPr>
              <a:t>Рабочие программы учебных предметов … формируются с учетом </a:t>
            </a:r>
            <a:r>
              <a:rPr lang="ru-RU" sz="2000" b="1" dirty="0" smtClean="0">
                <a:solidFill>
                  <a:srgbClr val="000066"/>
                </a:solidFill>
                <a:latin typeface="Times New Roman" pitchFamily="18" charset="0"/>
                <a:cs typeface="Times New Roman" pitchFamily="18" charset="0"/>
              </a:rPr>
              <a:t>рабочей программы воспитания</a:t>
            </a:r>
            <a:r>
              <a:rPr lang="ru-RU" sz="2000" dirty="0" smtClean="0">
                <a:solidFill>
                  <a:srgbClr val="000066"/>
                </a:solidFill>
                <a:latin typeface="Times New Roman" pitchFamily="18" charset="0"/>
                <a:cs typeface="Times New Roman" pitchFamily="18" charset="0"/>
              </a:rPr>
              <a:t>.</a:t>
            </a: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28670"/>
          </a:xfrm>
        </p:spPr>
        <p:txBody>
          <a:bodyPr/>
          <a:lstStyle/>
          <a:p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400" b="1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400" b="1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24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Положение </a:t>
            </a:r>
            <a:r>
              <a:rPr lang="ru-RU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4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о рабочей программе учебных предметов, учебных курсов</a:t>
            </a:r>
            <a:r>
              <a:rPr lang="ru-RU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</a:br>
            <a:endParaRPr lang="ru-RU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28596" y="928670"/>
            <a:ext cx="8572560" cy="4643470"/>
          </a:xfrm>
        </p:spPr>
        <p:txBody>
          <a:bodyPr/>
          <a:lstStyle/>
          <a:p>
            <a:pPr algn="just">
              <a:buNone/>
            </a:pPr>
            <a:r>
              <a:rPr lang="ru-RU" sz="18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3.1. </a:t>
            </a:r>
            <a:r>
              <a:rPr lang="ru-RU" sz="20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Структура рабочей программы в соответствии с требованиями федеральных государственных образовательных стандартов общего образования должна иметь обязательные компоненты:</a:t>
            </a:r>
          </a:p>
          <a:p>
            <a:pPr marL="457200" lvl="0" indent="-457200">
              <a:buFont typeface="+mj-lt"/>
              <a:buAutoNum type="arabicParenR"/>
            </a:pPr>
            <a:r>
              <a:rPr lang="ru-RU" sz="20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пояснительная записка;</a:t>
            </a:r>
          </a:p>
          <a:p>
            <a:pPr marL="457200" lvl="0" indent="-457200">
              <a:buFont typeface="+mj-lt"/>
              <a:buAutoNum type="arabicParenR"/>
            </a:pPr>
            <a:r>
              <a:rPr lang="ru-RU" sz="20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содержание учебного предмета, учебного курса;</a:t>
            </a:r>
          </a:p>
          <a:p>
            <a:pPr marL="457200" lvl="0" indent="-457200">
              <a:buFont typeface="+mj-lt"/>
              <a:buAutoNum type="arabicParenR"/>
            </a:pPr>
            <a:r>
              <a:rPr lang="ru-RU" sz="20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планируемые результаты освоения учебного предмета, учебного курса;</a:t>
            </a:r>
          </a:p>
          <a:p>
            <a:pPr marL="457200" lvl="0" indent="-457200">
              <a:buFont typeface="+mj-lt"/>
              <a:buAutoNum type="arabicParenR"/>
            </a:pPr>
            <a:r>
              <a:rPr lang="ru-RU" sz="20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тематическое планирование с указанием:</a:t>
            </a:r>
          </a:p>
          <a:p>
            <a:pPr lvl="0">
              <a:buFont typeface="Wingdings" pitchFamily="2" charset="2"/>
              <a:buChar char="ü"/>
            </a:pPr>
            <a:r>
              <a:rPr lang="ru-RU" sz="20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Кол-ва часов, отводимых на освоение каждой темы учебного предмета;</a:t>
            </a:r>
          </a:p>
          <a:p>
            <a:pPr lvl="0">
              <a:buFont typeface="Wingdings" pitchFamily="2" charset="2"/>
              <a:buChar char="ü"/>
            </a:pPr>
            <a:r>
              <a:rPr lang="ru-RU" sz="20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цифровых образовательных ресурсов (по возможности) в виде </a:t>
            </a:r>
            <a:r>
              <a:rPr lang="ru-RU" sz="20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мультимедийных</a:t>
            </a:r>
            <a:r>
              <a:rPr lang="ru-RU" sz="20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программ, электронных учебников, электронных библиотек, виртуальных лабораторий, игровые программы;</a:t>
            </a:r>
          </a:p>
          <a:p>
            <a:pPr lvl="0">
              <a:buFont typeface="Wingdings" pitchFamily="2" charset="2"/>
              <a:buChar char="ü"/>
            </a:pPr>
            <a:r>
              <a:rPr lang="ru-RU" sz="20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оспитательного ресурса рабочей программы воспитания.</a:t>
            </a:r>
          </a:p>
          <a:p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2" y="5715016"/>
          <a:ext cx="9143998" cy="919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57223"/>
                <a:gridCol w="1785950"/>
                <a:gridCol w="928694"/>
                <a:gridCol w="3286148"/>
                <a:gridCol w="2285983"/>
              </a:tblGrid>
              <a:tr h="37084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449580" algn="l"/>
                          <a:tab pos="899160" algn="l"/>
                          <a:tab pos="1348740" algn="l"/>
                          <a:tab pos="1798320" algn="l"/>
                          <a:tab pos="2247900" algn="l"/>
                          <a:tab pos="2697480" algn="l"/>
                          <a:tab pos="3147060" algn="l"/>
                          <a:tab pos="3596640" algn="l"/>
                          <a:tab pos="4046220" algn="l"/>
                          <a:tab pos="4495800" algn="l"/>
                          <a:tab pos="4945380" algn="l"/>
                          <a:tab pos="5394960" algn="l"/>
                          <a:tab pos="5844540" algn="l"/>
                          <a:tab pos="6294120" algn="l"/>
                        </a:tabLst>
                      </a:pPr>
                      <a:r>
                        <a:rPr lang="ru-RU" sz="1800" dirty="0">
                          <a:latin typeface="Times New Roman"/>
                          <a:ea typeface="Times New Roman"/>
                          <a:cs typeface="Times New Roman"/>
                        </a:rPr>
                        <a:t>Сроки</a:t>
                      </a:r>
                      <a:endParaRPr lang="ru-RU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449580" algn="l"/>
                          <a:tab pos="899160" algn="l"/>
                          <a:tab pos="1348740" algn="l"/>
                          <a:tab pos="1798320" algn="l"/>
                          <a:tab pos="2247900" algn="l"/>
                          <a:tab pos="2697480" algn="l"/>
                          <a:tab pos="3147060" algn="l"/>
                          <a:tab pos="3596640" algn="l"/>
                          <a:tab pos="4046220" algn="l"/>
                          <a:tab pos="4495800" algn="l"/>
                          <a:tab pos="4945380" algn="l"/>
                          <a:tab pos="5394960" algn="l"/>
                          <a:tab pos="5844540" algn="l"/>
                          <a:tab pos="6294120" algn="l"/>
                        </a:tabLst>
                      </a:pPr>
                      <a:r>
                        <a:rPr lang="ru-RU" sz="1800" dirty="0">
                          <a:latin typeface="Times New Roman"/>
                          <a:ea typeface="Times New Roman"/>
                          <a:cs typeface="Times New Roman"/>
                        </a:rPr>
                        <a:t>Тема раздела или урока</a:t>
                      </a:r>
                      <a:endParaRPr lang="ru-RU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449580" algn="l"/>
                          <a:tab pos="899160" algn="l"/>
                          <a:tab pos="1348740" algn="l"/>
                          <a:tab pos="1798320" algn="l"/>
                          <a:tab pos="2247900" algn="l"/>
                          <a:tab pos="2697480" algn="l"/>
                          <a:tab pos="3147060" algn="l"/>
                          <a:tab pos="3596640" algn="l"/>
                          <a:tab pos="4046220" algn="l"/>
                          <a:tab pos="4495800" algn="l"/>
                          <a:tab pos="4945380" algn="l"/>
                          <a:tab pos="5394960" algn="l"/>
                          <a:tab pos="5844540" algn="l"/>
                          <a:tab pos="6294120" algn="l"/>
                        </a:tabLst>
                      </a:pPr>
                      <a:r>
                        <a:rPr lang="ru-RU" sz="1800" dirty="0">
                          <a:latin typeface="Times New Roman"/>
                          <a:ea typeface="Times New Roman"/>
                          <a:cs typeface="Times New Roman"/>
                        </a:rPr>
                        <a:t>Кол-во часов</a:t>
                      </a:r>
                      <a:endParaRPr lang="ru-RU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449580" algn="l"/>
                          <a:tab pos="899160" algn="l"/>
                          <a:tab pos="1348740" algn="l"/>
                          <a:tab pos="1798320" algn="l"/>
                          <a:tab pos="2247900" algn="l"/>
                          <a:tab pos="2697480" algn="l"/>
                          <a:tab pos="3147060" algn="l"/>
                          <a:tab pos="3596640" algn="l"/>
                          <a:tab pos="4046220" algn="l"/>
                          <a:tab pos="4495800" algn="l"/>
                          <a:tab pos="4945380" algn="l"/>
                          <a:tab pos="5394960" algn="l"/>
                          <a:tab pos="5844540" algn="l"/>
                          <a:tab pos="6294120" algn="l"/>
                        </a:tabLst>
                      </a:pPr>
                      <a:r>
                        <a:rPr lang="ru-RU" sz="1800" dirty="0">
                          <a:latin typeface="Times New Roman"/>
                          <a:ea typeface="Times New Roman"/>
                          <a:cs typeface="Times New Roman"/>
                        </a:rPr>
                        <a:t>Цифровые образовательные ресурсы</a:t>
                      </a:r>
                      <a:endParaRPr lang="ru-RU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449580" algn="l"/>
                          <a:tab pos="899160" algn="l"/>
                          <a:tab pos="1348740" algn="l"/>
                          <a:tab pos="1798320" algn="l"/>
                          <a:tab pos="2247900" algn="l"/>
                          <a:tab pos="2697480" algn="l"/>
                          <a:tab pos="3147060" algn="l"/>
                          <a:tab pos="3596640" algn="l"/>
                          <a:tab pos="4046220" algn="l"/>
                          <a:tab pos="4495800" algn="l"/>
                          <a:tab pos="4945380" algn="l"/>
                          <a:tab pos="5394960" algn="l"/>
                          <a:tab pos="5844540" algn="l"/>
                          <a:tab pos="6294120" algn="l"/>
                        </a:tabLst>
                      </a:pPr>
                      <a:r>
                        <a:rPr lang="ru-RU" sz="1800" dirty="0">
                          <a:latin typeface="Times New Roman"/>
                          <a:ea typeface="Times New Roman"/>
                          <a:cs typeface="Times New Roman"/>
                        </a:rPr>
                        <a:t>Воспитательный потенциал</a:t>
                      </a:r>
                      <a:endParaRPr lang="ru-RU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449580" algn="l"/>
                          <a:tab pos="899160" algn="l"/>
                          <a:tab pos="1348740" algn="l"/>
                          <a:tab pos="1798320" algn="l"/>
                          <a:tab pos="2247900" algn="l"/>
                          <a:tab pos="2697480" algn="l"/>
                          <a:tab pos="3147060" algn="l"/>
                          <a:tab pos="3596640" algn="l"/>
                          <a:tab pos="4046220" algn="l"/>
                          <a:tab pos="4495800" algn="l"/>
                          <a:tab pos="4945380" algn="l"/>
                          <a:tab pos="5394960" algn="l"/>
                          <a:tab pos="5844540" algn="l"/>
                          <a:tab pos="6294120" algn="l"/>
                        </a:tabLst>
                      </a:pP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449580" algn="l"/>
                          <a:tab pos="899160" algn="l"/>
                          <a:tab pos="1348740" algn="l"/>
                          <a:tab pos="1798320" algn="l"/>
                          <a:tab pos="2247900" algn="l"/>
                          <a:tab pos="2697480" algn="l"/>
                          <a:tab pos="3147060" algn="l"/>
                          <a:tab pos="3596640" algn="l"/>
                          <a:tab pos="4046220" algn="l"/>
                          <a:tab pos="4495800" algn="l"/>
                          <a:tab pos="4945380" algn="l"/>
                          <a:tab pos="5394960" algn="l"/>
                          <a:tab pos="5844540" algn="l"/>
                          <a:tab pos="6294120" algn="l"/>
                        </a:tabLst>
                      </a:pP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449580" algn="l"/>
                          <a:tab pos="899160" algn="l"/>
                          <a:tab pos="1348740" algn="l"/>
                          <a:tab pos="1798320" algn="l"/>
                          <a:tab pos="2247900" algn="l"/>
                          <a:tab pos="2697480" algn="l"/>
                          <a:tab pos="3147060" algn="l"/>
                          <a:tab pos="3596640" algn="l"/>
                          <a:tab pos="4046220" algn="l"/>
                          <a:tab pos="4495800" algn="l"/>
                          <a:tab pos="4945380" algn="l"/>
                          <a:tab pos="5394960" algn="l"/>
                          <a:tab pos="5844540" algn="l"/>
                          <a:tab pos="6294120" algn="l"/>
                        </a:tabLst>
                      </a:pP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449580" algn="l"/>
                          <a:tab pos="899160" algn="l"/>
                          <a:tab pos="1348740" algn="l"/>
                          <a:tab pos="1798320" algn="l"/>
                          <a:tab pos="2247900" algn="l"/>
                          <a:tab pos="2697480" algn="l"/>
                          <a:tab pos="3147060" algn="l"/>
                          <a:tab pos="3596640" algn="l"/>
                          <a:tab pos="4046220" algn="l"/>
                          <a:tab pos="4495800" algn="l"/>
                          <a:tab pos="4945380" algn="l"/>
                          <a:tab pos="5394960" algn="l"/>
                          <a:tab pos="5844540" algn="l"/>
                          <a:tab pos="6294120" algn="l"/>
                        </a:tabLst>
                      </a:pPr>
                      <a:endParaRPr lang="ru-RU" sz="110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449580" algn="l"/>
                          <a:tab pos="899160" algn="l"/>
                          <a:tab pos="1348740" algn="l"/>
                          <a:tab pos="1798320" algn="l"/>
                          <a:tab pos="2247900" algn="l"/>
                          <a:tab pos="2697480" algn="l"/>
                          <a:tab pos="3147060" algn="l"/>
                          <a:tab pos="3596640" algn="l"/>
                          <a:tab pos="4046220" algn="l"/>
                          <a:tab pos="4495800" algn="l"/>
                          <a:tab pos="4945380" algn="l"/>
                          <a:tab pos="5394960" algn="l"/>
                          <a:tab pos="5844540" algn="l"/>
                          <a:tab pos="6294120" algn="l"/>
                        </a:tabLst>
                      </a:pPr>
                      <a:endParaRPr lang="ru-RU" sz="11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714356"/>
          </a:xfrm>
        </p:spPr>
        <p:txBody>
          <a:bodyPr/>
          <a:lstStyle/>
          <a:p>
            <a:r>
              <a:rPr lang="ru-RU" sz="2400" b="1" dirty="0" smtClean="0"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400" b="1" dirty="0" smtClean="0">
                <a:latin typeface="Times New Roman" pitchFamily="18" charset="0"/>
                <a:cs typeface="Times New Roman" pitchFamily="18" charset="0"/>
              </a:rPr>
            </a:br>
            <a:r>
              <a:rPr lang="ru-RU" sz="2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Положение </a:t>
            </a:r>
            <a:r>
              <a:rPr lang="ru-RU" sz="22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2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о рабочей программе курсов внеурочной деятельности</a:t>
            </a:r>
            <a:r>
              <a:rPr lang="ru-RU" sz="22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2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</a:br>
            <a:endParaRPr lang="ru-RU" sz="22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214282" y="785794"/>
            <a:ext cx="8715436" cy="4500594"/>
          </a:xfrm>
        </p:spPr>
        <p:txBody>
          <a:bodyPr/>
          <a:lstStyle/>
          <a:p>
            <a:pPr algn="just">
              <a:buNone/>
            </a:pPr>
            <a:r>
              <a:rPr lang="ru-RU" sz="18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3.1. </a:t>
            </a:r>
            <a:r>
              <a:rPr lang="ru-RU" sz="20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Структура рабочей программы курса внеурочной деятельности в соответствии с требованиями ФГОС общего образования должна иметь обязательные компоненты:</a:t>
            </a:r>
          </a:p>
          <a:p>
            <a:pPr marL="457200" lvl="0" indent="-457200">
              <a:buFont typeface="+mj-lt"/>
              <a:buAutoNum type="arabicParenR"/>
            </a:pPr>
            <a:r>
              <a:rPr lang="ru-RU" sz="20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пояснительная записка;</a:t>
            </a:r>
          </a:p>
          <a:p>
            <a:pPr marL="457200" lvl="0" indent="-457200">
              <a:buFont typeface="+mj-lt"/>
              <a:buAutoNum type="arabicParenR"/>
            </a:pPr>
            <a:r>
              <a:rPr lang="ru-RU" sz="20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содержание курса внеурочной деятельности;</a:t>
            </a:r>
          </a:p>
          <a:p>
            <a:pPr marL="457200" lvl="0" indent="-457200">
              <a:buFont typeface="+mj-lt"/>
              <a:buAutoNum type="arabicParenR"/>
            </a:pPr>
            <a:r>
              <a:rPr lang="ru-RU" sz="20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планируемые результаты освоения курса внеурочной деятельности;</a:t>
            </a:r>
          </a:p>
          <a:p>
            <a:pPr marL="457200" lvl="0" indent="-457200">
              <a:buFont typeface="+mj-lt"/>
              <a:buAutoNum type="arabicParenR"/>
            </a:pPr>
            <a:r>
              <a:rPr lang="ru-RU" sz="20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тематическое планирование с указанием:</a:t>
            </a:r>
          </a:p>
          <a:p>
            <a:pPr lvl="0">
              <a:buFont typeface="Wingdings" pitchFamily="2" charset="2"/>
              <a:buChar char="ü"/>
            </a:pPr>
            <a:r>
              <a:rPr lang="ru-RU" sz="20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кол-ва часов, отводимых на освоение каждой темы курса;</a:t>
            </a:r>
          </a:p>
          <a:p>
            <a:pPr lvl="0">
              <a:buFont typeface="Wingdings" pitchFamily="2" charset="2"/>
              <a:buChar char="ü"/>
            </a:pPr>
            <a:r>
              <a:rPr lang="ru-RU" sz="20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форм проведения занятий;</a:t>
            </a:r>
          </a:p>
          <a:p>
            <a:pPr lvl="0">
              <a:buFont typeface="Wingdings" pitchFamily="2" charset="2"/>
              <a:buChar char="ü"/>
            </a:pPr>
            <a:r>
              <a:rPr lang="ru-RU" sz="20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цифровых образовательных ресурсов (по возможности) в виде </a:t>
            </a:r>
            <a:r>
              <a:rPr lang="ru-RU" sz="2000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мультимедийных</a:t>
            </a:r>
            <a:r>
              <a:rPr lang="ru-RU" sz="20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программ, электронных библиотек, виртуальных лабораторий, игровые программы;</a:t>
            </a:r>
          </a:p>
          <a:p>
            <a:pPr lvl="0">
              <a:buFont typeface="Wingdings" pitchFamily="2" charset="2"/>
              <a:buChar char="ü"/>
            </a:pPr>
            <a:r>
              <a:rPr lang="ru-RU" sz="20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оспитательного ресурса рабочей программы воспитания.</a:t>
            </a:r>
          </a:p>
          <a:p>
            <a:endParaRPr lang="ru-RU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0" y="5429264"/>
          <a:ext cx="9144001" cy="1280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50980"/>
                <a:gridCol w="1609350"/>
                <a:gridCol w="1097284"/>
                <a:gridCol w="1536198"/>
                <a:gridCol w="1975112"/>
                <a:gridCol w="1975077"/>
              </a:tblGrid>
              <a:tr h="761941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449580" algn="l"/>
                          <a:tab pos="899160" algn="l"/>
                          <a:tab pos="1348740" algn="l"/>
                          <a:tab pos="1798320" algn="l"/>
                          <a:tab pos="2247900" algn="l"/>
                          <a:tab pos="2697480" algn="l"/>
                          <a:tab pos="3147060" algn="l"/>
                          <a:tab pos="3596640" algn="l"/>
                          <a:tab pos="4046220" algn="l"/>
                          <a:tab pos="4495800" algn="l"/>
                          <a:tab pos="4945380" algn="l"/>
                          <a:tab pos="5394960" algn="l"/>
                          <a:tab pos="5844540" algn="l"/>
                          <a:tab pos="6294120" algn="l"/>
                        </a:tabLst>
                      </a:pPr>
                      <a:r>
                        <a:rPr lang="ru-RU" sz="1800" dirty="0">
                          <a:latin typeface="Times New Roman"/>
                          <a:ea typeface="Times New Roman"/>
                          <a:cs typeface="Times New Roman"/>
                        </a:rPr>
                        <a:t>Сроки</a:t>
                      </a:r>
                      <a:endParaRPr lang="ru-RU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449580" algn="l"/>
                          <a:tab pos="899160" algn="l"/>
                          <a:tab pos="1348740" algn="l"/>
                          <a:tab pos="1798320" algn="l"/>
                          <a:tab pos="2247900" algn="l"/>
                          <a:tab pos="2697480" algn="l"/>
                          <a:tab pos="3147060" algn="l"/>
                          <a:tab pos="3596640" algn="l"/>
                          <a:tab pos="4046220" algn="l"/>
                          <a:tab pos="4495800" algn="l"/>
                          <a:tab pos="4945380" algn="l"/>
                          <a:tab pos="5394960" algn="l"/>
                          <a:tab pos="5844540" algn="l"/>
                          <a:tab pos="6294120" algn="l"/>
                        </a:tabLst>
                      </a:pPr>
                      <a:r>
                        <a:rPr lang="ru-RU" sz="1800" dirty="0">
                          <a:latin typeface="Times New Roman"/>
                          <a:ea typeface="Times New Roman"/>
                          <a:cs typeface="Times New Roman"/>
                        </a:rPr>
                        <a:t>Тема раздела или урока</a:t>
                      </a:r>
                      <a:endParaRPr lang="ru-RU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r>
                        <a:rPr lang="ru-RU" sz="1800" dirty="0" smtClean="0">
                          <a:latin typeface="Times New Roman"/>
                          <a:ea typeface="Times New Roman"/>
                          <a:cs typeface="Times New Roman"/>
                        </a:rPr>
                        <a:t>Кол-во часов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Форма проведения занятий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449580" algn="l"/>
                          <a:tab pos="899160" algn="l"/>
                          <a:tab pos="1348740" algn="l"/>
                          <a:tab pos="1798320" algn="l"/>
                          <a:tab pos="2247900" algn="l"/>
                          <a:tab pos="2697480" algn="l"/>
                          <a:tab pos="3147060" algn="l"/>
                          <a:tab pos="3596640" algn="l"/>
                          <a:tab pos="4046220" algn="l"/>
                          <a:tab pos="4495800" algn="l"/>
                          <a:tab pos="4945380" algn="l"/>
                          <a:tab pos="5394960" algn="l"/>
                          <a:tab pos="5844540" algn="l"/>
                          <a:tab pos="6294120" algn="l"/>
                        </a:tabLst>
                      </a:pPr>
                      <a:r>
                        <a:rPr lang="ru-RU" sz="1800" dirty="0">
                          <a:latin typeface="Times New Roman"/>
                          <a:ea typeface="Times New Roman"/>
                          <a:cs typeface="Times New Roman"/>
                        </a:rPr>
                        <a:t>Цифровые образовательные ресурсы</a:t>
                      </a:r>
                      <a:endParaRPr lang="ru-RU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449580" algn="l"/>
                          <a:tab pos="899160" algn="l"/>
                          <a:tab pos="1348740" algn="l"/>
                          <a:tab pos="1798320" algn="l"/>
                          <a:tab pos="2247900" algn="l"/>
                          <a:tab pos="2697480" algn="l"/>
                          <a:tab pos="3147060" algn="l"/>
                          <a:tab pos="3596640" algn="l"/>
                          <a:tab pos="4046220" algn="l"/>
                          <a:tab pos="4495800" algn="l"/>
                          <a:tab pos="4945380" algn="l"/>
                          <a:tab pos="5394960" algn="l"/>
                          <a:tab pos="5844540" algn="l"/>
                          <a:tab pos="6294120" algn="l"/>
                        </a:tabLst>
                      </a:pPr>
                      <a:r>
                        <a:rPr lang="ru-RU" sz="1800" dirty="0">
                          <a:latin typeface="Times New Roman"/>
                          <a:ea typeface="Times New Roman"/>
                          <a:cs typeface="Times New Roman"/>
                        </a:rPr>
                        <a:t>Воспитательный потенциал</a:t>
                      </a:r>
                      <a:endParaRPr lang="ru-RU" sz="18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309009"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472488" cy="1797050"/>
          </a:xfrm>
        </p:spPr>
        <p:txBody>
          <a:bodyPr/>
          <a:lstStyle/>
          <a:p>
            <a:r>
              <a:rPr lang="ru-RU" sz="20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МИНПРОСВЕЩЕНИЯ РОССИИ</a:t>
            </a:r>
            <a:br>
              <a:rPr lang="ru-RU" sz="20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ПРИКАЗ от 31 мая 2021 г. N 286  </a:t>
            </a:r>
            <a:br>
              <a:rPr lang="ru-RU" sz="20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«Об утверждении ФГОС начального общего образования»</a:t>
            </a:r>
            <a:br>
              <a:rPr lang="ru-RU" sz="20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 ПРИКАЗ от 31 мая 2021 г. N 287  </a:t>
            </a:r>
            <a:br>
              <a:rPr lang="ru-RU" sz="20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0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«Об утверждении ФГОС основного общего образования»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214313" y="2071688"/>
            <a:ext cx="8715375" cy="4643437"/>
          </a:xfrm>
        </p:spPr>
        <p:txBody>
          <a:bodyPr/>
          <a:lstStyle/>
          <a:p>
            <a:pPr marL="457200" indent="-457200">
              <a:buFont typeface="Arial" charset="0"/>
              <a:buAutoNum type="arabicPeriod"/>
              <a:defRPr/>
            </a:pPr>
            <a:r>
              <a:rPr lang="ru-RU" sz="2400" b="1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Утвердить прилагаемый ФГОС начального общего образования.</a:t>
            </a:r>
          </a:p>
          <a:p>
            <a:pPr marL="457200" indent="-457200">
              <a:buFont typeface="Arial" charset="0"/>
              <a:buNone/>
              <a:defRPr/>
            </a:pPr>
            <a:endParaRPr lang="ru-RU" sz="2400" b="1" dirty="0" smtClean="0">
              <a:solidFill>
                <a:srgbClr val="0070C0"/>
              </a:solidFill>
              <a:latin typeface="Times New Roman" pitchFamily="18" charset="0"/>
              <a:cs typeface="Times New Roman" pitchFamily="18" charset="0"/>
            </a:endParaRPr>
          </a:p>
          <a:p>
            <a:pPr marL="457200" indent="-457200">
              <a:buFont typeface="Arial" charset="0"/>
              <a:buNone/>
              <a:defRPr/>
            </a:pPr>
            <a:r>
              <a:rPr lang="ru-RU" sz="2400" b="1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2. Установить, что:</a:t>
            </a:r>
          </a:p>
          <a:p>
            <a:pPr algn="just">
              <a:buFont typeface="Arial" charset="0"/>
              <a:buChar char="•"/>
              <a:defRPr/>
            </a:pPr>
            <a:r>
              <a:rPr lang="ru-RU" sz="2400" b="1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образовательная организация вправе осуществлять в соответствии с ФГОС обучение несовершеннолетних обучающихся, </a:t>
            </a:r>
            <a:r>
              <a:rPr lang="ru-RU" sz="24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зачисленных до вступления в силу настоящего приказа,</a:t>
            </a:r>
            <a:r>
              <a:rPr lang="ru-RU" sz="2400" b="1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 с согласия их родителей (законных представителей);</a:t>
            </a:r>
          </a:p>
          <a:p>
            <a:pPr algn="just">
              <a:buFont typeface="Arial" charset="0"/>
              <a:buChar char="•"/>
              <a:defRPr/>
            </a:pPr>
            <a:r>
              <a:rPr lang="ru-RU" sz="2400" b="1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прием на обучение в соответствии с ФГОС 2009 г. прекращается с 1 сентября 2022 года </a:t>
            </a:r>
            <a:endParaRPr lang="ru-RU" b="1" dirty="0">
              <a:solidFill>
                <a:srgbClr val="0070C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90FD00DF-129B-4EED-89AB-A016BCAFA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0"/>
            <a:ext cx="8568952" cy="1988840"/>
          </a:xfrm>
        </p:spPr>
        <p:txBody>
          <a:bodyPr>
            <a:noAutofit/>
          </a:bodyPr>
          <a:lstStyle/>
          <a:p>
            <a:pPr algn="ctr"/>
            <a:r>
              <a:rPr lang="ru-RU" sz="2400" b="1" dirty="0">
                <a:solidFill>
                  <a:srgbClr val="7030A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400" b="1" dirty="0">
                <a:solidFill>
                  <a:srgbClr val="7030A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b="1" dirty="0">
                <a:solidFill>
                  <a:srgbClr val="7030A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ФГОС начального общего образования –</a:t>
            </a:r>
            <a:br>
              <a:rPr lang="ru-RU" sz="2400" b="1" dirty="0">
                <a:solidFill>
                  <a:srgbClr val="7030A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b="1" dirty="0">
                <a:solidFill>
                  <a:srgbClr val="7030A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иказ Минобрнауки России от 6 октября 2009 г. N 373</a:t>
            </a:r>
            <a:br>
              <a:rPr lang="ru-RU" sz="2400" b="1" dirty="0">
                <a:solidFill>
                  <a:srgbClr val="7030A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b="1" dirty="0">
                <a:solidFill>
                  <a:srgbClr val="7030A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2400" b="1" dirty="0">
                <a:solidFill>
                  <a:srgbClr val="7030A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200" b="1" dirty="0">
                <a:solidFill>
                  <a:srgbClr val="7030A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Изменения: </a:t>
            </a:r>
            <a:r>
              <a:rPr lang="ru-RU" sz="2200" dirty="0">
                <a:solidFill>
                  <a:srgbClr val="7030A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26 ноября 2010 г., 22 сентября 2011 г., 18 декабря 2012 г., 29 декабря 2014 г., 18 мая, 31 декабря 2015 г., </a:t>
            </a:r>
            <a:r>
              <a:rPr lang="ru-RU" sz="2200" b="1" dirty="0">
                <a:solidFill>
                  <a:srgbClr val="7030A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1 декабря 2020 г.</a:t>
            </a:r>
            <a:r>
              <a:rPr lang="ru-RU" sz="2200" b="1" dirty="0">
                <a:solidFill>
                  <a:srgbClr val="7030A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ru-RU" sz="2200" b="1" dirty="0">
                <a:solidFill>
                  <a:srgbClr val="7030A0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ru-RU" sz="2200" b="1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41AB5AD5-66A7-477D-8AAE-9A072AEE006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7504" y="1988840"/>
            <a:ext cx="8856984" cy="4869160"/>
          </a:xfrm>
        </p:spPr>
        <p:txBody>
          <a:bodyPr>
            <a:normAutofit lnSpcReduction="10000"/>
          </a:bodyPr>
          <a:lstStyle/>
          <a:p>
            <a:pPr indent="0" algn="just">
              <a:lnSpc>
                <a:spcPct val="115000"/>
              </a:lnSpc>
              <a:spcAft>
                <a:spcPts val="0"/>
              </a:spcAft>
              <a:buNone/>
            </a:pPr>
            <a:r>
              <a:rPr lang="ru-RU" sz="2400" b="1" dirty="0">
                <a:solidFill>
                  <a:srgbClr val="0070C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9.6.</a:t>
            </a:r>
            <a:r>
              <a:rPr lang="ru-RU" sz="2400" dirty="0">
                <a:solidFill>
                  <a:srgbClr val="0070C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b="1" dirty="0">
                <a:solidFill>
                  <a:srgbClr val="0070C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абочая программа воспитания имеет модульную структуру и включает в себя:</a:t>
            </a:r>
            <a:endParaRPr lang="ru-RU" sz="2400" b="1" dirty="0">
              <a:solidFill>
                <a:srgbClr val="0070C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628650" indent="-457200" algn="just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2400" dirty="0">
                <a:solidFill>
                  <a:srgbClr val="000066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писание особенностей воспитательного процесса;</a:t>
            </a:r>
            <a:endParaRPr lang="ru-RU" sz="2400" dirty="0">
              <a:solidFill>
                <a:srgbClr val="000066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628650" indent="-457200" algn="just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2400" dirty="0">
                <a:solidFill>
                  <a:srgbClr val="000066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цель и задачи воспитания обучающихся;</a:t>
            </a:r>
            <a:endParaRPr lang="ru-RU" sz="2400" dirty="0">
              <a:solidFill>
                <a:srgbClr val="000066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628650" indent="-457200" algn="just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2400" dirty="0">
                <a:solidFill>
                  <a:srgbClr val="000066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иды, формы и содержание совместной деятельности педагогических работников, обучающихся и социальных партнеров организации, осуществляющей образовательную деятельность;</a:t>
            </a:r>
            <a:endParaRPr lang="ru-RU" sz="2400" dirty="0">
              <a:solidFill>
                <a:srgbClr val="000066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628650" indent="-457200" algn="just">
              <a:lnSpc>
                <a:spcPct val="115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2400" dirty="0">
                <a:solidFill>
                  <a:srgbClr val="000066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сновные направления самоанализа воспитательной работы в организации, осуществляющей образовательную деятельность.</a:t>
            </a:r>
            <a:endParaRPr lang="ru-RU" sz="2400" dirty="0">
              <a:solidFill>
                <a:srgbClr val="000066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961447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Заголовок 1">
            <a:extLst>
              <a:ext uri="{FF2B5EF4-FFF2-40B4-BE49-F238E27FC236}">
                <a16:creationId xmlns:a16="http://schemas.microsoft.com/office/drawing/2014/main" xmlns="" id="{DAD67D24-8557-447A-B960-5301427BF76B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628650" y="188913"/>
            <a:ext cx="7886700" cy="535053"/>
          </a:xfrm>
        </p:spPr>
        <p:txBody>
          <a:bodyPr/>
          <a:lstStyle/>
          <a:p>
            <a:pPr algn="ctr" eaLnBrk="1" hangingPunct="1"/>
            <a:r>
              <a:rPr lang="ru-RU" altLang="ru-RU" sz="2400" b="1" dirty="0">
                <a:solidFill>
                  <a:srgbClr val="2F589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уктура</a:t>
            </a:r>
            <a:br>
              <a:rPr lang="ru-RU" altLang="ru-RU" sz="2400" b="1" dirty="0">
                <a:solidFill>
                  <a:srgbClr val="2F589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altLang="ru-RU" sz="2400" b="1" dirty="0">
                <a:solidFill>
                  <a:srgbClr val="2F5898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бочей программы воспитания – ФГОС </a:t>
            </a:r>
            <a:endParaRPr lang="ru-RU" alt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9091" name="Объект 2">
            <a:extLst>
              <a:ext uri="{FF2B5EF4-FFF2-40B4-BE49-F238E27FC236}">
                <a16:creationId xmlns:a16="http://schemas.microsoft.com/office/drawing/2014/main" xmlns="" id="{E2814F3A-F943-49FE-88F7-97A688E58B41}"/>
              </a:ext>
            </a:extLst>
          </p:cNvPr>
          <p:cNvSpPr>
            <a:spLocks noGrp="1" noChangeArrowheads="1"/>
          </p:cNvSpPr>
          <p:nvPr>
            <p:ph idx="1"/>
          </p:nvPr>
        </p:nvSpPr>
        <p:spPr>
          <a:xfrm>
            <a:off x="539552" y="836713"/>
            <a:ext cx="8280598" cy="5832374"/>
          </a:xfrm>
        </p:spPr>
        <p:txBody>
          <a:bodyPr/>
          <a:lstStyle/>
          <a:p>
            <a:pPr marL="0" indent="0" eaLnBrk="1" hangingPunct="1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ru-RU" altLang="ru-RU" sz="24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дел 1. «Особенности организуемого в школе воспитательного процесса»</a:t>
            </a:r>
          </a:p>
          <a:p>
            <a:pPr marL="0" indent="0" eaLnBrk="1" hangingPunct="1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ru-RU" altLang="ru-RU" sz="24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дел 2. «Цель и задачи воспитания»</a:t>
            </a:r>
          </a:p>
          <a:p>
            <a:pPr marL="0" indent="0" eaLnBrk="1" hangingPunct="1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ru-RU" altLang="ru-RU" sz="24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дел 3. «Виды, формы и содержание деятельности»</a:t>
            </a:r>
          </a:p>
          <a:p>
            <a:pPr marL="0" indent="0" eaLnBrk="1" hangingPunct="1">
              <a:lnSpc>
                <a:spcPct val="100000"/>
              </a:lnSpc>
              <a:buFont typeface="Arial" panose="020B0604020202020204" pitchFamily="34" charset="0"/>
              <a:buNone/>
            </a:pPr>
            <a:endParaRPr lang="ru-RU" altLang="ru-RU" sz="2400" b="1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eaLnBrk="1" hangingPunct="1">
              <a:buFont typeface="Arial" panose="020B0604020202020204" pitchFamily="34" charset="0"/>
              <a:buNone/>
            </a:pPr>
            <a:endParaRPr lang="ru-RU" altLang="ru-RU" sz="2400" b="1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eaLnBrk="1" hangingPunct="1">
              <a:buFont typeface="Arial" panose="020B0604020202020204" pitchFamily="34" charset="0"/>
              <a:buNone/>
            </a:pPr>
            <a:endParaRPr lang="ru-RU" altLang="ru-RU" sz="2400" b="1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eaLnBrk="1" hangingPunct="1">
              <a:buFont typeface="Arial" panose="020B0604020202020204" pitchFamily="34" charset="0"/>
              <a:buNone/>
            </a:pPr>
            <a:endParaRPr lang="ru-RU" altLang="ru-RU" sz="2400" b="1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eaLnBrk="1" hangingPunct="1">
              <a:buFont typeface="Arial" panose="020B0604020202020204" pitchFamily="34" charset="0"/>
              <a:buNone/>
            </a:pPr>
            <a:endParaRPr lang="ru-RU" altLang="ru-RU" sz="2400" b="1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eaLnBrk="1" hangingPunct="1">
              <a:buFont typeface="Arial" panose="020B0604020202020204" pitchFamily="34" charset="0"/>
              <a:buNone/>
            </a:pPr>
            <a:endParaRPr lang="ru-RU" altLang="ru-RU" sz="2400" b="1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eaLnBrk="1" hangingPunct="1">
              <a:buFont typeface="Arial" panose="020B0604020202020204" pitchFamily="34" charset="0"/>
              <a:buNone/>
            </a:pPr>
            <a:endParaRPr lang="ru-RU" altLang="ru-RU" sz="2400" b="1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eaLnBrk="1" hangingPunct="1">
              <a:buFont typeface="Arial" panose="020B0604020202020204" pitchFamily="34" charset="0"/>
              <a:buNone/>
            </a:pPr>
            <a:endParaRPr lang="ru-RU" altLang="ru-RU" sz="2400" b="1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eaLnBrk="1" hangingPunct="1">
              <a:buFont typeface="Arial" panose="020B0604020202020204" pitchFamily="34" charset="0"/>
              <a:buNone/>
            </a:pPr>
            <a:r>
              <a:rPr lang="ru-RU" altLang="ru-RU" sz="24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дел 4. «Основные направления самоанализа воспитательной работы»</a:t>
            </a:r>
            <a:endParaRPr lang="ru-RU" altLang="ru-RU" sz="2400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6" name="Таблица 5">
            <a:extLst>
              <a:ext uri="{FF2B5EF4-FFF2-40B4-BE49-F238E27FC236}">
                <a16:creationId xmlns:a16="http://schemas.microsoft.com/office/drawing/2014/main" xmlns="" id="{89F15528-1F3D-4BFF-A04F-57E684FA6A45}"/>
              </a:ext>
            </a:extLst>
          </p:cNvPr>
          <p:cNvGraphicFramePr>
            <a:graphicFrameLocks/>
          </p:cNvGraphicFramePr>
          <p:nvPr/>
        </p:nvGraphicFramePr>
        <p:xfrm>
          <a:off x="604072" y="2814818"/>
          <a:ext cx="8280598" cy="31986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08651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487194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3198655">
                <a:tc>
                  <a:txBody>
                    <a:bodyPr/>
                    <a:lstStyle/>
                    <a:p>
                      <a:pPr algn="ctr"/>
                      <a:r>
                        <a:rPr lang="ru-RU" sz="2200" b="1" i="0" u="none" strike="noStrike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вариантные модули</a:t>
                      </a:r>
                    </a:p>
                    <a:p>
                      <a:pPr algn="l"/>
                      <a:r>
                        <a:rPr lang="ru-RU" sz="2200" b="1" i="0" u="none" strike="noStrike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 «Классное руководство»</a:t>
                      </a:r>
                    </a:p>
                    <a:p>
                      <a:pPr algn="l"/>
                      <a:r>
                        <a:rPr lang="ru-RU" sz="2200" b="1" i="0" u="none" strike="noStrike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 «Школьный урок»</a:t>
                      </a:r>
                    </a:p>
                    <a:p>
                      <a:pPr algn="l"/>
                      <a:r>
                        <a:rPr lang="ru-RU" sz="2200" b="1" i="0" u="none" strike="noStrike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 «Курсы внеурочной</a:t>
                      </a:r>
                    </a:p>
                    <a:p>
                      <a:pPr algn="l"/>
                      <a:r>
                        <a:rPr lang="ru-RU" sz="2200" b="1" i="0" u="none" strike="noStrike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ятельности»</a:t>
                      </a:r>
                    </a:p>
                    <a:p>
                      <a:pPr algn="l"/>
                      <a:r>
                        <a:rPr lang="ru-RU" sz="2200" b="1" i="0" u="none" strike="noStrike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 «Работа с родителями»</a:t>
                      </a:r>
                    </a:p>
                    <a:p>
                      <a:pPr algn="l"/>
                      <a:r>
                        <a:rPr lang="ru-RU" sz="2200" b="1" i="0" u="none" strike="noStrike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 «Самоуправление»</a:t>
                      </a:r>
                    </a:p>
                    <a:p>
                      <a:pPr algn="l"/>
                      <a:r>
                        <a:rPr lang="ru-RU" sz="2200" b="1" i="0" u="none" strike="noStrike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 «Профориентация»</a:t>
                      </a:r>
                    </a:p>
                  </a:txBody>
                  <a:tcPr marL="68562" marR="68562" marT="34284" marB="34284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200" b="1" i="0" u="none" strike="noStrike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ариативные модули</a:t>
                      </a:r>
                    </a:p>
                    <a:p>
                      <a:pPr algn="l"/>
                      <a:r>
                        <a:rPr lang="ru-RU" sz="2200" b="1" i="0" u="none" strike="noStrike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 «Ключевые общешкольные</a:t>
                      </a:r>
                    </a:p>
                    <a:p>
                      <a:pPr algn="l"/>
                      <a:r>
                        <a:rPr lang="ru-RU" sz="2200" b="1" i="0" u="none" strike="noStrike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ла»</a:t>
                      </a:r>
                    </a:p>
                    <a:p>
                      <a:pPr algn="l"/>
                      <a:r>
                        <a:rPr lang="ru-RU" sz="2200" b="1" i="0" u="none" strike="noStrike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 «Детские общественные</a:t>
                      </a:r>
                    </a:p>
                    <a:p>
                      <a:pPr algn="l"/>
                      <a:r>
                        <a:rPr lang="ru-RU" sz="2200" b="1" i="0" u="none" strike="noStrike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ъединения»</a:t>
                      </a:r>
                    </a:p>
                    <a:p>
                      <a:pPr algn="l"/>
                      <a:r>
                        <a:rPr lang="ru-RU" sz="2200" b="1" i="0" u="none" strike="noStrike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 «Школьные медиа»</a:t>
                      </a:r>
                    </a:p>
                    <a:p>
                      <a:pPr algn="l"/>
                      <a:r>
                        <a:rPr lang="ru-RU" sz="2200" b="1" i="0" u="none" strike="noStrike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 «Экскурсии, экспедиции, походы»</a:t>
                      </a:r>
                    </a:p>
                    <a:p>
                      <a:pPr algn="l"/>
                      <a:r>
                        <a:rPr lang="ru-RU" sz="2200" b="1" i="0" u="none" strike="noStrike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 «Организация предметно-</a:t>
                      </a:r>
                    </a:p>
                    <a:p>
                      <a:pPr algn="l"/>
                      <a:r>
                        <a:rPr lang="ru-RU" sz="2200" b="1" i="0" u="none" strike="noStrike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стетической среды»</a:t>
                      </a:r>
                      <a:endParaRPr lang="ru-RU" sz="22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62" marR="68562" marT="34284" marB="34284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21857941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36BC02E4-0DF2-4B01-AE59-9E0EDB5957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8812" y="260648"/>
            <a:ext cx="8975188" cy="360039"/>
          </a:xfrm>
        </p:spPr>
        <p:txBody>
          <a:bodyPr>
            <a:noAutofit/>
          </a:bodyPr>
          <a:lstStyle/>
          <a:p>
            <a:r>
              <a:rPr lang="ru-RU" sz="28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!!! Структура РПВ будет изменена к 1 сентября 2022 г.</a:t>
            </a:r>
          </a:p>
        </p:txBody>
      </p:sp>
      <p:graphicFrame>
        <p:nvGraphicFramePr>
          <p:cNvPr id="4" name="Таблица 4">
            <a:extLst>
              <a:ext uri="{FF2B5EF4-FFF2-40B4-BE49-F238E27FC236}">
                <a16:creationId xmlns:a16="http://schemas.microsoft.com/office/drawing/2014/main" xmlns="" id="{7A22FFAF-6993-44C4-BF7F-77B1F303C92E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2584700635"/>
              </p:ext>
            </p:extLst>
          </p:nvPr>
        </p:nvGraphicFramePr>
        <p:xfrm>
          <a:off x="0" y="812757"/>
          <a:ext cx="9144000" cy="594104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72000">
                  <a:extLst>
                    <a:ext uri="{9D8B030D-6E8A-4147-A177-3AD203B41FA5}">
                      <a16:colId xmlns:a16="http://schemas.microsoft.com/office/drawing/2014/main" xmlns="" val="412833902"/>
                    </a:ext>
                  </a:extLst>
                </a:gridCol>
                <a:gridCol w="4572000">
                  <a:extLst>
                    <a:ext uri="{9D8B030D-6E8A-4147-A177-3AD203B41FA5}">
                      <a16:colId xmlns:a16="http://schemas.microsoft.com/office/drawing/2014/main" xmlns="" val="1295345006"/>
                    </a:ext>
                  </a:extLst>
                </a:gridCol>
              </a:tblGrid>
              <a:tr h="485128">
                <a:tc>
                  <a:txBody>
                    <a:bodyPr/>
                    <a:lstStyle/>
                    <a:p>
                      <a:r>
                        <a:rPr lang="ru-RU" sz="2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ГОС с изменениями 20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22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ГОС с сентября 2022 года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310693458"/>
                  </a:ext>
                </a:extLst>
              </a:tr>
              <a:tr h="4959079">
                <a:tc>
                  <a:txBody>
                    <a:bodyPr/>
                    <a:lstStyle/>
                    <a:p>
                      <a:pPr indent="0" algn="just">
                        <a:lnSpc>
                          <a:spcPct val="100000"/>
                        </a:lnSpc>
                        <a:spcAft>
                          <a:spcPts val="0"/>
                        </a:spcAft>
                        <a:buNone/>
                      </a:pPr>
                      <a:r>
                        <a:rPr lang="ru-RU" sz="2200" b="1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19.6. Рабочая программа воспитания имеет модульную структуру и включает в себя:</a:t>
                      </a:r>
                      <a:endParaRPr lang="ru-RU" sz="2200" b="1" dirty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2200" b="1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22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писание особенностей </a:t>
                      </a:r>
                      <a:r>
                        <a:rPr lang="ru-RU" sz="2200" b="1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оспитательного процесса;</a:t>
                      </a:r>
                      <a:endParaRPr lang="ru-RU" sz="2200" b="1" dirty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2200" b="1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22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цель и задачи </a:t>
                      </a:r>
                      <a:r>
                        <a:rPr lang="ru-RU" sz="2200" b="1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оспитания;</a:t>
                      </a:r>
                      <a:endParaRPr lang="ru-RU" sz="2200" b="1" dirty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2200" b="1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22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иды, формы и содержание </a:t>
                      </a:r>
                      <a:r>
                        <a:rPr lang="ru-RU" sz="2200" b="1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овместной деятельности педагогических работников, обучающихся и социальных партнеров организации;</a:t>
                      </a:r>
                      <a:endParaRPr lang="ru-RU" sz="2200" b="1" dirty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indent="0" algn="l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ru-RU" sz="2200" b="1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2200" b="1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сновные направления самоанализа </a:t>
                      </a:r>
                      <a:r>
                        <a:rPr lang="ru-RU" sz="2200" b="1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оспитательной работы в организации, осуществляющей образовательную деятельность.</a:t>
                      </a:r>
                      <a:endParaRPr lang="ru-RU" sz="2000" dirty="0">
                        <a:solidFill>
                          <a:schemeClr val="accent5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200" b="1" kern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2.3. Рабочая программа воспитания может иметь модульную структуру и включать:</a:t>
                      </a: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200" b="1" kern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. </a:t>
                      </a:r>
                      <a:r>
                        <a:rPr lang="ru-RU" sz="22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анализ воспитательного </a:t>
                      </a:r>
                      <a:r>
                        <a:rPr lang="ru-RU" sz="2200" b="1" kern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оцесса в Организации;</a:t>
                      </a: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200" b="1" kern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 </a:t>
                      </a:r>
                      <a:r>
                        <a:rPr lang="ru-RU" sz="22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цель и задачи </a:t>
                      </a:r>
                      <a:r>
                        <a:rPr lang="ru-RU" sz="2200" b="1" kern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оспитания;</a:t>
                      </a: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200" b="1" kern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 </a:t>
                      </a:r>
                      <a:r>
                        <a:rPr lang="ru-RU" sz="22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иды, формы и содержание </a:t>
                      </a:r>
                      <a:r>
                        <a:rPr lang="ru-RU" sz="2200" b="1" kern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воспитательной деятельности с учетом специфики Организации, интересов субъектов воспитания, тематики модулей;</a:t>
                      </a:r>
                    </a:p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2200" b="1" kern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. </a:t>
                      </a:r>
                      <a:r>
                        <a:rPr lang="ru-RU" sz="2200" b="1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истему поощрения </a:t>
                      </a:r>
                      <a:r>
                        <a:rPr lang="ru-RU" sz="2200" b="1" kern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оциальной успешности и проявлений активной жизненной позиции обучающихся.</a:t>
                      </a:r>
                      <a:endParaRPr lang="ru-RU" sz="2000" dirty="0">
                        <a:solidFill>
                          <a:schemeClr val="accent5">
                            <a:lumMod val="75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04397215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3208233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25470"/>
          </a:xfrm>
        </p:spPr>
        <p:txBody>
          <a:bodyPr/>
          <a:lstStyle/>
          <a:p>
            <a:r>
              <a:rPr lang="ru-RU" altLang="ru-RU" sz="3600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ГОС 2022: ООП ООО</a:t>
            </a:r>
            <a:endParaRPr lang="ru-RU" sz="3600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214282" y="1142984"/>
            <a:ext cx="8643998" cy="4983179"/>
          </a:xfrm>
        </p:spPr>
        <p:txBody>
          <a:bodyPr/>
          <a:lstStyle/>
          <a:p>
            <a:pPr marL="0">
              <a:spcBef>
                <a:spcPts val="0"/>
              </a:spcBef>
              <a:buNone/>
            </a:pPr>
            <a:r>
              <a:rPr lang="ru-RU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Программа формирования универсальных учебных действий у обучающихся должна содержать:</a:t>
            </a:r>
            <a:endParaRPr lang="ru-RU" dirty="0" smtClean="0">
              <a:solidFill>
                <a:srgbClr val="7030A0"/>
              </a:solidFill>
              <a:latin typeface="Times New Roman" pitchFamily="18" charset="0"/>
              <a:cs typeface="Times New Roman" pitchFamily="18" charset="0"/>
            </a:endParaRPr>
          </a:p>
          <a:p>
            <a:pPr marL="514350" indent="-514350">
              <a:buFont typeface="+mj-lt"/>
              <a:buAutoNum type="arabicPeriod"/>
            </a:pP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писание взаимосвязи универсальных учебных действий с содержанием учебных предметов;</a:t>
            </a:r>
            <a:endParaRPr lang="ru-RU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marL="514350" indent="-514350">
              <a:buFont typeface="+mj-lt"/>
              <a:buAutoNum type="arabicPeriod"/>
            </a:pPr>
            <a:r>
              <a:rPr lang="ru-RU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писание особенностей реализации основных направлений и форм учебно-исследовательской деятельности в рамках урочной и внеурочной деятельности.</a:t>
            </a:r>
            <a:endParaRPr lang="ru-RU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42852"/>
            <a:ext cx="8229600" cy="714380"/>
          </a:xfrm>
        </p:spPr>
        <p:txBody>
          <a:bodyPr/>
          <a:lstStyle/>
          <a:p>
            <a:r>
              <a:rPr lang="ru-RU" sz="24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4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4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4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4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ФГОС 2022: ООП ООО  </a:t>
            </a:r>
            <a:r>
              <a:rPr lang="ru-RU" sz="24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4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4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Программа коррекционной работы должна содержать:</a:t>
            </a:r>
            <a:br>
              <a:rPr lang="ru-RU" sz="24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</a:br>
            <a:endParaRPr lang="ru-RU" sz="2400" b="1" dirty="0">
              <a:solidFill>
                <a:srgbClr val="7030A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142844" y="1142984"/>
            <a:ext cx="8715436" cy="5429288"/>
          </a:xfrm>
        </p:spPr>
        <p:txBody>
          <a:bodyPr/>
          <a:lstStyle/>
          <a:p>
            <a:pPr marL="457200" indent="-457200">
              <a:buFont typeface="+mj-lt"/>
              <a:buAutoNum type="arabicPeriod"/>
            </a:pPr>
            <a:r>
              <a:rPr lang="ru-RU" sz="24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писание особых образовательных потребностей обучающихся с ОВЗ;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4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лан индивидуально ориентированных диагностических и коррекционных мероприятий, обеспечивающих удовлетворение индивидуальных образовательных потребностей обучающихся с ОВЗ и освоение ими программы основного общего образования, в том числе адаптированной;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4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рабочие программы коррекционных учебных курсов;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4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еречень дополнительных коррекционных учебных курсов и их рабочие программы (при наличии);</a:t>
            </a:r>
          </a:p>
          <a:p>
            <a:pPr marL="457200" indent="-457200">
              <a:buFont typeface="+mj-lt"/>
              <a:buAutoNum type="arabicPeriod"/>
            </a:pPr>
            <a:r>
              <a:rPr lang="ru-RU" sz="24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ланируемые результаты коррекционной работы и подходы к их оценке с целью корректировки индивидуального плана диагностических и коррекционных мероприятий.</a:t>
            </a:r>
          </a:p>
          <a:p>
            <a:endParaRPr lang="ru-RU" dirty="0"/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82594"/>
          </a:xfrm>
        </p:spPr>
        <p:txBody>
          <a:bodyPr/>
          <a:lstStyle/>
          <a:p>
            <a:r>
              <a:rPr lang="ru-RU" dirty="0" smtClean="0">
                <a:solidFill>
                  <a:srgbClr val="7030A0"/>
                </a:solidFill>
              </a:rPr>
              <a:t>Внеурочная деятельность</a:t>
            </a:r>
            <a:endParaRPr lang="ru-RU" dirty="0">
              <a:solidFill>
                <a:srgbClr val="7030A0"/>
              </a:solidFill>
            </a:endParaRPr>
          </a:p>
        </p:txBody>
      </p:sp>
      <p:pic>
        <p:nvPicPr>
          <p:cNvPr id="9011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214282" y="1071546"/>
            <a:ext cx="8786874" cy="27146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0115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14282" y="4643446"/>
            <a:ext cx="8715436" cy="20002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0116" name="Picture 4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285720" y="3714752"/>
            <a:ext cx="8501122" cy="9286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92893" y="1"/>
            <a:ext cx="7630427" cy="571480"/>
          </a:xfrm>
        </p:spPr>
        <p:txBody>
          <a:bodyPr>
            <a:noAutofit/>
          </a:bodyPr>
          <a:lstStyle/>
          <a:p>
            <a:r>
              <a:rPr lang="ru-RU" sz="2000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оддержка введения обновленных ФГОС</a:t>
            </a:r>
          </a:p>
        </p:txBody>
      </p:sp>
      <p:graphicFrame>
        <p:nvGraphicFramePr>
          <p:cNvPr id="5" name="Таблица 5">
            <a:extLst>
              <a:ext uri="{FF2B5EF4-FFF2-40B4-BE49-F238E27FC236}">
                <a16:creationId xmlns="" xmlns:a16="http://schemas.microsoft.com/office/drawing/2014/main" id="{BF3E0453-3456-478E-B823-CDBB95888EAF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1675285953"/>
              </p:ext>
            </p:extLst>
          </p:nvPr>
        </p:nvGraphicFramePr>
        <p:xfrm>
          <a:off x="214282" y="571480"/>
          <a:ext cx="8549268" cy="5996622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2849756">
                  <a:extLst>
                    <a:ext uri="{9D8B030D-6E8A-4147-A177-3AD203B41FA5}">
                      <a16:colId xmlns="" xmlns:a16="http://schemas.microsoft.com/office/drawing/2014/main" val="2300183689"/>
                    </a:ext>
                  </a:extLst>
                </a:gridCol>
                <a:gridCol w="3293912">
                  <a:extLst>
                    <a:ext uri="{9D8B030D-6E8A-4147-A177-3AD203B41FA5}">
                      <a16:colId xmlns="" xmlns:a16="http://schemas.microsoft.com/office/drawing/2014/main" val="4237467393"/>
                    </a:ext>
                  </a:extLst>
                </a:gridCol>
                <a:gridCol w="2405600">
                  <a:extLst>
                    <a:ext uri="{9D8B030D-6E8A-4147-A177-3AD203B41FA5}">
                      <a16:colId xmlns="" xmlns:a16="http://schemas.microsoft.com/office/drawing/2014/main" val="2631226700"/>
                    </a:ext>
                  </a:extLst>
                </a:gridCol>
              </a:tblGrid>
              <a:tr h="418782"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Сделано</a:t>
                      </a:r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На стадии завершения</a:t>
                      </a:r>
                    </a:p>
                  </a:txBody>
                  <a:tcPr marL="68580" marR="6858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/>
                        <a:t>Планируется</a:t>
                      </a:r>
                    </a:p>
                  </a:txBody>
                  <a:tcPr marL="68580" marR="68580"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202285239"/>
                  </a:ext>
                </a:extLst>
              </a:tr>
              <a:tr h="4440237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2000" dirty="0" smtClean="0"/>
                        <a:t>Федеральные государственные образовательные стандарты начального общего и основного </a:t>
                      </a:r>
                      <a:r>
                        <a:rPr lang="ru-RU" sz="2000" smtClean="0"/>
                        <a:t>общего образования</a:t>
                      </a:r>
                      <a:endParaRPr lang="ru-RU" sz="2000" dirty="0" smtClean="0"/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2000" dirty="0" smtClean="0"/>
                        <a:t>Примерные </a:t>
                      </a:r>
                      <a:r>
                        <a:rPr lang="ru-RU" sz="2000" dirty="0"/>
                        <a:t>рабочие программы по учебным </a:t>
                      </a:r>
                      <a:r>
                        <a:rPr lang="ru-RU" sz="2000" dirty="0" smtClean="0"/>
                        <a:t>предметам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2000" dirty="0" smtClean="0"/>
                        <a:t>Универсальные кодификаторы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endParaRPr lang="ru-RU" sz="2000" dirty="0"/>
                    </a:p>
                  </a:txBody>
                  <a:tcPr marL="68580" marR="68580"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2000" dirty="0"/>
                        <a:t>Методические рекомендации по введению ФГОС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2000" dirty="0"/>
                        <a:t>Типовой план введения ФГОС в субъекте Российской Федерации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2000" dirty="0"/>
                        <a:t>ПООП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2000" dirty="0"/>
                        <a:t>Примерные рабочие программы углубленного уровня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2000" dirty="0"/>
                        <a:t>Утверждение нового порядка формирования ФПУ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2000" dirty="0"/>
                        <a:t>Методические рекомендации по </a:t>
                      </a:r>
                      <a:r>
                        <a:rPr lang="ru-RU" sz="2000" dirty="0" smtClean="0"/>
                        <a:t>внеурочной деятельности</a:t>
                      </a:r>
                    </a:p>
                    <a:p>
                      <a:pPr marL="285750" marR="0" lvl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ru-RU" sz="2000" dirty="0" smtClean="0"/>
                        <a:t>Типовой комплект методических</a:t>
                      </a:r>
                      <a:r>
                        <a:rPr lang="ru-RU" sz="2000" baseline="0" dirty="0" smtClean="0"/>
                        <a:t> документов</a:t>
                      </a:r>
                      <a:endParaRPr lang="ru-RU" sz="2000" dirty="0"/>
                    </a:p>
                  </a:txBody>
                  <a:tcPr marL="68580" marR="6858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2000" dirty="0"/>
                        <a:t>Экспертиза УМК на соответствие обновленным ФГОС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2000" dirty="0"/>
                        <a:t>Утверждение обновленного ФПУ</a:t>
                      </a:r>
                    </a:p>
                  </a:txBody>
                  <a:tcPr marL="68580" marR="68580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555328211"/>
                  </a:ext>
                </a:extLst>
              </a:tr>
            </a:tbl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287758" y="6241799"/>
            <a:ext cx="190308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hlinkClick r:id="rId2"/>
              </a:rPr>
              <a:t>https://edsoo.ru</a:t>
            </a:r>
            <a:r>
              <a:rPr lang="en-US" dirty="0" smtClean="0">
                <a:hlinkClick r:id="rId2"/>
              </a:rPr>
              <a:t>/</a:t>
            </a:r>
            <a:r>
              <a:rPr lang="ru-RU" dirty="0" smtClean="0"/>
              <a:t> 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844215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1412" t="42899" r="54890" b="42609"/>
          <a:stretch>
            <a:fillRect/>
          </a:stretch>
        </p:blipFill>
        <p:spPr bwMode="auto">
          <a:xfrm>
            <a:off x="7561265" y="1484313"/>
            <a:ext cx="1323975" cy="3313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1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0013" t="40450" r="84599" b="51958"/>
          <a:stretch>
            <a:fillRect/>
          </a:stretch>
        </p:blipFill>
        <p:spPr bwMode="auto">
          <a:xfrm>
            <a:off x="311150" y="3073405"/>
            <a:ext cx="560388" cy="288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Прямая со стрелкой 6"/>
          <p:cNvCxnSpPr/>
          <p:nvPr/>
        </p:nvCxnSpPr>
        <p:spPr>
          <a:xfrm>
            <a:off x="871546" y="3213100"/>
            <a:ext cx="7089775" cy="0"/>
          </a:xfrm>
          <a:prstGeom prst="straightConnector1">
            <a:avLst/>
          </a:prstGeom>
          <a:ln w="31750" cmpd="sng">
            <a:solidFill>
              <a:schemeClr val="tx1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3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1470" t="41452" r="56572" b="40224"/>
          <a:stretch>
            <a:fillRect/>
          </a:stretch>
        </p:blipFill>
        <p:spPr bwMode="auto">
          <a:xfrm>
            <a:off x="3348038" y="3141669"/>
            <a:ext cx="161925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4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1470" t="41452" r="56572" b="40224"/>
          <a:stretch>
            <a:fillRect/>
          </a:stretch>
        </p:blipFill>
        <p:spPr bwMode="auto">
          <a:xfrm>
            <a:off x="4827590" y="3133729"/>
            <a:ext cx="161925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5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1470" t="41452" r="56572" b="40224"/>
          <a:stretch>
            <a:fillRect/>
          </a:stretch>
        </p:blipFill>
        <p:spPr bwMode="auto">
          <a:xfrm>
            <a:off x="1895477" y="3141669"/>
            <a:ext cx="161925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6" name="Picture 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1470" t="41452" r="56572" b="40224"/>
          <a:stretch>
            <a:fillRect/>
          </a:stretch>
        </p:blipFill>
        <p:spPr bwMode="auto">
          <a:xfrm>
            <a:off x="6202364" y="3141669"/>
            <a:ext cx="161925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7" name="Рисунок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051" y="354022"/>
            <a:ext cx="546100" cy="615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Название 1"/>
          <p:cNvSpPr txBox="1">
            <a:spLocks/>
          </p:cNvSpPr>
          <p:nvPr/>
        </p:nvSpPr>
        <p:spPr bwMode="auto">
          <a:xfrm>
            <a:off x="782328" y="300046"/>
            <a:ext cx="7790200" cy="485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2860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defTabSz="914264" eaLnBrk="1" fontAlgn="base" hangingPunct="1">
              <a:spcBef>
                <a:spcPct val="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ru-RU" altLang="ru-RU" sz="2000" b="1" dirty="0">
                <a:solidFill>
                  <a:srgbClr val="20258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СНОВНЫЕ </a:t>
            </a:r>
            <a:r>
              <a:rPr lang="ru-RU" altLang="ru-RU" sz="2000" b="1" dirty="0" smtClean="0">
                <a:solidFill>
                  <a:srgbClr val="20258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ДАЧИ</a:t>
            </a:r>
            <a:r>
              <a:rPr lang="en-US" altLang="ru-RU" sz="2000" b="1" dirty="0" smtClean="0">
                <a:solidFill>
                  <a:srgbClr val="20258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altLang="ru-RU" sz="2000" b="1" dirty="0" smtClean="0">
                <a:solidFill>
                  <a:srgbClr val="20258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СФЕРЕ ОБЩЕГО ОБРАЗОВАНИЯ</a:t>
            </a:r>
            <a:endParaRPr lang="ru-RU" altLang="ru-RU" sz="2000" b="1" dirty="0">
              <a:solidFill>
                <a:srgbClr val="202584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6643702" y="1571612"/>
            <a:ext cx="1357322" cy="1095390"/>
          </a:xfrm>
          <a:prstGeom prst="roundRect">
            <a:avLst>
              <a:gd name="adj" fmla="val 7336"/>
            </a:avLst>
          </a:prstGeom>
          <a:gradFill flip="none" rotWithShape="1">
            <a:gsLst>
              <a:gs pos="0">
                <a:srgbClr val="339EF5">
                  <a:alpha val="5000"/>
                </a:srgbClr>
              </a:gs>
              <a:gs pos="100000">
                <a:schemeClr val="bg1"/>
              </a:gs>
            </a:gsLst>
            <a:lin ang="18900000" scaled="1"/>
            <a:tileRect/>
          </a:gradFill>
          <a:ln w="6350">
            <a:solidFill>
              <a:srgbClr val="3682F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8" rIns="91428" bIns="45718" anchor="ctr"/>
          <a:lstStyle/>
          <a:p>
            <a:pPr algn="ctr" defTabSz="914264">
              <a:defRPr/>
            </a:pPr>
            <a:r>
              <a:rPr lang="ru-RU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хождение </a:t>
            </a:r>
          </a:p>
          <a:p>
            <a:pPr algn="ctr" defTabSz="914264">
              <a:defRPr/>
            </a:pPr>
            <a:r>
              <a:rPr lang="ru-RU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10-ку</a:t>
            </a: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6072198" y="3714752"/>
            <a:ext cx="1714512" cy="1500198"/>
          </a:xfrm>
          <a:prstGeom prst="roundRect">
            <a:avLst>
              <a:gd name="adj" fmla="val 7336"/>
            </a:avLst>
          </a:prstGeom>
          <a:gradFill flip="none" rotWithShape="1">
            <a:gsLst>
              <a:gs pos="0">
                <a:srgbClr val="339EF5">
                  <a:alpha val="5000"/>
                </a:srgbClr>
              </a:gs>
              <a:gs pos="100000">
                <a:schemeClr val="bg1"/>
              </a:gs>
            </a:gsLst>
            <a:lin ang="18900000" scaled="1"/>
            <a:tileRect/>
          </a:gradFill>
          <a:ln w="6350">
            <a:solidFill>
              <a:srgbClr val="3682F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8" rIns="91428" bIns="45718" anchor="ctr"/>
          <a:lstStyle/>
          <a:p>
            <a:pPr algn="ctr" defTabSz="914264">
              <a:defRPr/>
            </a:pPr>
            <a:r>
              <a:rPr lang="ru-RU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дернизация методических служб</a:t>
            </a: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357158" y="3571876"/>
            <a:ext cx="2071702" cy="2000264"/>
          </a:xfrm>
          <a:prstGeom prst="roundRect">
            <a:avLst>
              <a:gd name="adj" fmla="val 7336"/>
            </a:avLst>
          </a:prstGeom>
          <a:gradFill flip="none" rotWithShape="1">
            <a:gsLst>
              <a:gs pos="0">
                <a:srgbClr val="339EF5">
                  <a:alpha val="5000"/>
                </a:srgbClr>
              </a:gs>
              <a:gs pos="100000">
                <a:schemeClr val="bg1"/>
              </a:gs>
            </a:gsLst>
            <a:lin ang="18900000" scaled="1"/>
            <a:tileRect/>
          </a:gradFill>
          <a:ln w="6350">
            <a:solidFill>
              <a:srgbClr val="3682F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8" rIns="91428" bIns="45718" anchor="ctr"/>
          <a:lstStyle/>
          <a:p>
            <a:pPr algn="ctr" defTabSz="914264">
              <a:defRPr/>
            </a:pPr>
            <a:r>
              <a:rPr lang="ru-RU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онно-управленческие модели деятельности образовательных организаций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2500299" y="3744914"/>
            <a:ext cx="1570060" cy="2255854"/>
          </a:xfrm>
          <a:prstGeom prst="roundRect">
            <a:avLst>
              <a:gd name="adj" fmla="val 7336"/>
            </a:avLst>
          </a:prstGeom>
          <a:gradFill flip="none" rotWithShape="1">
            <a:gsLst>
              <a:gs pos="0">
                <a:srgbClr val="339EF5">
                  <a:alpha val="5000"/>
                </a:srgbClr>
              </a:gs>
              <a:gs pos="100000">
                <a:schemeClr val="bg1"/>
              </a:gs>
            </a:gsLst>
            <a:lin ang="18900000" scaled="1"/>
            <a:tileRect/>
          </a:gradFill>
          <a:ln w="6350">
            <a:solidFill>
              <a:srgbClr val="3682F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8" rIns="91428" bIns="45718" anchor="ctr"/>
          <a:lstStyle/>
          <a:p>
            <a:pPr algn="ctr" defTabSz="914264">
              <a:defRPr/>
            </a:pPr>
            <a:r>
              <a:rPr lang="ru-RU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одные языки: </a:t>
            </a:r>
            <a:r>
              <a:rPr lang="ru-RU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етод., </a:t>
            </a:r>
            <a:r>
              <a:rPr lang="ru-RU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ормативное обеспечение и учебники, изменения ФГОС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1857356" y="1214422"/>
            <a:ext cx="1571636" cy="1482747"/>
          </a:xfrm>
          <a:prstGeom prst="roundRect">
            <a:avLst>
              <a:gd name="adj" fmla="val 7336"/>
            </a:avLst>
          </a:prstGeom>
          <a:gradFill flip="none" rotWithShape="1">
            <a:gsLst>
              <a:gs pos="0">
                <a:srgbClr val="339EF5">
                  <a:alpha val="5000"/>
                </a:srgbClr>
              </a:gs>
              <a:gs pos="100000">
                <a:schemeClr val="bg1"/>
              </a:gs>
            </a:gsLst>
            <a:lin ang="18900000" scaled="1"/>
            <a:tileRect/>
          </a:gradFill>
          <a:ln w="6350">
            <a:solidFill>
              <a:srgbClr val="3682F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8" rIns="91428" bIns="45718" anchor="ctr"/>
          <a:lstStyle/>
          <a:p>
            <a:pPr algn="ctr" defTabSz="914264">
              <a:defRPr/>
            </a:pPr>
            <a:r>
              <a:rPr lang="ru-RU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новление концепции дошкольного образования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5033963" y="1428736"/>
            <a:ext cx="1466863" cy="1235093"/>
          </a:xfrm>
          <a:prstGeom prst="roundRect">
            <a:avLst>
              <a:gd name="adj" fmla="val 7336"/>
            </a:avLst>
          </a:prstGeom>
          <a:gradFill flip="none" rotWithShape="1">
            <a:gsLst>
              <a:gs pos="0">
                <a:srgbClr val="339EF5">
                  <a:alpha val="5000"/>
                </a:srgbClr>
              </a:gs>
              <a:gs pos="100000">
                <a:schemeClr val="bg1"/>
              </a:gs>
            </a:gsLst>
            <a:lin ang="18900000" scaled="1"/>
            <a:tileRect/>
          </a:gradFill>
          <a:ln w="6350">
            <a:solidFill>
              <a:srgbClr val="3682F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8" rIns="91428" bIns="45718" anchor="ctr"/>
          <a:lstStyle/>
          <a:p>
            <a:pPr algn="ctr" defTabSz="914264">
              <a:defRPr/>
            </a:pPr>
            <a:r>
              <a:rPr lang="ru-RU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новление </a:t>
            </a:r>
          </a:p>
          <a:p>
            <a:pPr algn="ctr" defTabSz="914264">
              <a:defRPr/>
            </a:pPr>
            <a:r>
              <a:rPr lang="ru-RU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ГОС СОО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3540126" y="1214422"/>
            <a:ext cx="1389064" cy="1465285"/>
          </a:xfrm>
          <a:prstGeom prst="roundRect">
            <a:avLst>
              <a:gd name="adj" fmla="val 7336"/>
            </a:avLst>
          </a:prstGeom>
          <a:gradFill flip="none" rotWithShape="1">
            <a:gsLst>
              <a:gs pos="0">
                <a:srgbClr val="339EF5">
                  <a:alpha val="5000"/>
                </a:srgbClr>
              </a:gs>
              <a:gs pos="100000">
                <a:schemeClr val="bg1"/>
              </a:gs>
            </a:gsLst>
            <a:lin ang="18900000" scaled="1"/>
            <a:tileRect/>
          </a:gradFill>
          <a:ln w="6350">
            <a:solidFill>
              <a:srgbClr val="3682F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8" rIns="91428" bIns="45718" anchor="ctr"/>
          <a:lstStyle/>
          <a:p>
            <a:pPr algn="ctr" defTabSz="914264">
              <a:defRPr/>
            </a:pPr>
            <a:r>
              <a:rPr lang="ru-RU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ведение </a:t>
            </a:r>
            <a:r>
              <a:rPr lang="ru-RU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ГОС НОО и ООО</a:t>
            </a: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285720" y="1357298"/>
            <a:ext cx="1463707" cy="1322405"/>
          </a:xfrm>
          <a:prstGeom prst="roundRect">
            <a:avLst>
              <a:gd name="adj" fmla="val 7336"/>
            </a:avLst>
          </a:prstGeom>
          <a:gradFill flip="none" rotWithShape="1">
            <a:gsLst>
              <a:gs pos="0">
                <a:srgbClr val="339EF5">
                  <a:alpha val="5000"/>
                </a:srgbClr>
              </a:gs>
              <a:gs pos="100000">
                <a:schemeClr val="bg1"/>
              </a:gs>
            </a:gsLst>
            <a:lin ang="18900000" scaled="1"/>
            <a:tileRect/>
          </a:gradFill>
          <a:ln w="6350">
            <a:solidFill>
              <a:srgbClr val="3682F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8" rIns="91428" bIns="45718" anchor="ctr"/>
          <a:lstStyle/>
          <a:p>
            <a:pPr algn="ctr" defTabSz="914264">
              <a:defRPr/>
            </a:pPr>
            <a:r>
              <a:rPr lang="ru-RU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бота с управленческими кадрами</a:t>
            </a: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4214817" y="3741739"/>
            <a:ext cx="1714505" cy="1901840"/>
          </a:xfrm>
          <a:prstGeom prst="roundRect">
            <a:avLst>
              <a:gd name="adj" fmla="val 7336"/>
            </a:avLst>
          </a:prstGeom>
          <a:gradFill flip="none" rotWithShape="1">
            <a:gsLst>
              <a:gs pos="0">
                <a:srgbClr val="339EF5">
                  <a:alpha val="5000"/>
                </a:srgbClr>
              </a:gs>
              <a:gs pos="100000">
                <a:schemeClr val="bg1"/>
              </a:gs>
            </a:gsLst>
            <a:lin ang="18900000" scaled="1"/>
            <a:tileRect/>
          </a:gradFill>
          <a:ln w="6350">
            <a:solidFill>
              <a:srgbClr val="3682F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8" tIns="45718" rIns="91428" bIns="45718" anchor="ctr"/>
          <a:lstStyle/>
          <a:p>
            <a:pPr algn="ctr" defTabSz="914264">
              <a:defRPr/>
            </a:pPr>
            <a:r>
              <a:rPr lang="ru-RU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дернизация организации, управления, содержания </a:t>
            </a:r>
            <a:r>
              <a:rPr lang="ru-RU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сОШ</a:t>
            </a:r>
            <a:endParaRPr lang="ru-RU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068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6572" t="40224" r="41470" b="41452"/>
          <a:stretch>
            <a:fillRect/>
          </a:stretch>
        </p:blipFill>
        <p:spPr bwMode="auto">
          <a:xfrm>
            <a:off x="1177925" y="2693994"/>
            <a:ext cx="161925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69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6572" t="40224" r="41470" b="41452"/>
          <a:stretch>
            <a:fillRect/>
          </a:stretch>
        </p:blipFill>
        <p:spPr bwMode="auto">
          <a:xfrm>
            <a:off x="2667001" y="2693994"/>
            <a:ext cx="161925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70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6572" t="40224" r="41470" b="41452"/>
          <a:stretch>
            <a:fillRect/>
          </a:stretch>
        </p:blipFill>
        <p:spPr bwMode="auto">
          <a:xfrm>
            <a:off x="4052888" y="2698762"/>
            <a:ext cx="161925" cy="60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71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6572" t="40224" r="41470" b="41452"/>
          <a:stretch>
            <a:fillRect/>
          </a:stretch>
        </p:blipFill>
        <p:spPr bwMode="auto">
          <a:xfrm>
            <a:off x="5502275" y="2684470"/>
            <a:ext cx="161925" cy="600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72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6572" t="40224" r="41470" b="41452"/>
          <a:stretch>
            <a:fillRect/>
          </a:stretch>
        </p:blipFill>
        <p:spPr bwMode="auto">
          <a:xfrm>
            <a:off x="6850064" y="2698762"/>
            <a:ext cx="161925" cy="60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707790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3357554" y="1857364"/>
            <a:ext cx="2028825" cy="1000132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Январь 2022 – апрель 2022</a:t>
            </a:r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428596" y="3643314"/>
            <a:ext cx="2786082" cy="2071702"/>
          </a:xfrm>
          <a:prstGeom prst="rect">
            <a:avLst/>
          </a:prstGeom>
          <a:solidFill>
            <a:srgbClr val="20377B"/>
          </a:solidFill>
          <a:ln/>
          <a:effectLst>
            <a:outerShdw blurRad="381000" dist="165100" dir="5400000" sx="74000" sy="74000" algn="ctr" rotWithShape="0">
              <a:schemeClr val="bg1">
                <a:lumMod val="50000"/>
              </a:schemeClr>
            </a:outerShdw>
          </a:effectLst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ru-RU" sz="2400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Реализация обновленных ФГОС НОО и ООО</a:t>
            </a:r>
            <a:endParaRPr lang="ru-RU" sz="2400" b="1" dirty="0">
              <a:ln w="0"/>
              <a:solidFill>
                <a:prstClr val="white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428596" y="1071546"/>
            <a:ext cx="2857520" cy="1952218"/>
          </a:xfrm>
          <a:prstGeom prst="rect">
            <a:avLst/>
          </a:prstGeom>
          <a:solidFill>
            <a:srgbClr val="20377B"/>
          </a:solidFill>
          <a:ln/>
          <a:effectLst>
            <a:outerShdw blurRad="381000" dist="165100" dir="5400000" sx="74000" sy="74000" algn="ctr" rotWithShape="0">
              <a:schemeClr val="bg1">
                <a:lumMod val="50000"/>
              </a:schemeClr>
            </a:outerShdw>
          </a:effectLst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ru-RU" sz="2400" b="1" dirty="0" smtClean="0">
                <a:ln w="0"/>
                <a:solidFill>
                  <a:prstClr val="white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Формирование функциональной грамотности</a:t>
            </a:r>
            <a:endParaRPr lang="en-US" sz="2400" b="1" dirty="0" smtClean="0">
              <a:ln w="0"/>
              <a:solidFill>
                <a:prstClr val="white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" name="Объект 5"/>
          <p:cNvSpPr>
            <a:spLocks noGrp="1"/>
          </p:cNvSpPr>
          <p:nvPr>
            <p:ph sz="quarter" idx="4"/>
          </p:nvPr>
        </p:nvSpPr>
        <p:spPr>
          <a:xfrm>
            <a:off x="3357554" y="4071942"/>
            <a:ext cx="2071702" cy="928694"/>
          </a:xfrm>
        </p:spPr>
        <p:txBody>
          <a:bodyPr>
            <a:normAutofit fontScale="92500"/>
          </a:bodyPr>
          <a:lstStyle/>
          <a:p>
            <a:pPr marL="0" indent="0" algn="ctr">
              <a:buNone/>
            </a:pP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ентябрь 2022 – май 2023</a:t>
            </a:r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Google Shape;202;g10404eab96a_0_40"/>
          <p:cNvSpPr txBox="1"/>
          <p:nvPr/>
        </p:nvSpPr>
        <p:spPr>
          <a:xfrm>
            <a:off x="5490645" y="1142984"/>
            <a:ext cx="3439073" cy="2643206"/>
          </a:xfrm>
          <a:prstGeom prst="rect">
            <a:avLst/>
          </a:prstGeom>
          <a:noFill/>
          <a:ln w="9525" cap="flat" cmpd="sng">
            <a:solidFill>
              <a:srgbClr val="9E9E9E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27000" tIns="27000" rIns="27000" bIns="27000" anchor="t" anchorCtr="0">
            <a:noAutofit/>
          </a:bodyPr>
          <a:lstStyle/>
          <a:p>
            <a:pPr>
              <a:lnSpc>
                <a:spcPct val="80000"/>
              </a:lnSpc>
              <a:buClr>
                <a:srgbClr val="4D5156"/>
              </a:buClr>
              <a:buSzPts val="700"/>
            </a:pPr>
            <a:r>
              <a:rPr lang="ru-RU" sz="2200" b="1" dirty="0" smtClean="0">
                <a:latin typeface="Times New Roman" panose="02020603050405020304" pitchFamily="18" charset="0"/>
                <a:ea typeface="Montserrat"/>
                <a:cs typeface="Times New Roman" panose="02020603050405020304" pitchFamily="18" charset="0"/>
                <a:sym typeface="Montserrat"/>
              </a:rPr>
              <a:t>Участие российских школьников </a:t>
            </a:r>
            <a:r>
              <a:rPr lang="ru-RU" sz="2200" b="1" dirty="0">
                <a:latin typeface="Times New Roman" panose="02020603050405020304" pitchFamily="18" charset="0"/>
                <a:ea typeface="Montserrat"/>
                <a:cs typeface="Times New Roman" panose="02020603050405020304" pitchFamily="18" charset="0"/>
                <a:sym typeface="Montserrat"/>
              </a:rPr>
              <a:t>в </a:t>
            </a:r>
            <a:r>
              <a:rPr lang="ru-RU" sz="2200" b="1" dirty="0" smtClean="0">
                <a:latin typeface="Times New Roman" panose="02020603050405020304" pitchFamily="18" charset="0"/>
                <a:ea typeface="Montserrat"/>
                <a:cs typeface="Times New Roman" panose="02020603050405020304" pitchFamily="18" charset="0"/>
                <a:sym typeface="Montserrat"/>
              </a:rPr>
              <a:t>международных исследованиях </a:t>
            </a:r>
            <a:r>
              <a:rPr lang="ru-RU" sz="2200" b="1" dirty="0">
                <a:latin typeface="Times New Roman" panose="02020603050405020304" pitchFamily="18" charset="0"/>
                <a:ea typeface="Montserrat"/>
                <a:cs typeface="Times New Roman" panose="02020603050405020304" pitchFamily="18" charset="0"/>
                <a:sym typeface="Montserrat"/>
              </a:rPr>
              <a:t>по оценке образовательных достижений </a:t>
            </a:r>
            <a:r>
              <a:rPr lang="ru-RU" sz="2200" b="1" dirty="0" smtClean="0">
                <a:latin typeface="Times New Roman" panose="02020603050405020304" pitchFamily="18" charset="0"/>
                <a:ea typeface="Montserrat"/>
                <a:cs typeface="Times New Roman" panose="02020603050405020304" pitchFamily="18" charset="0"/>
                <a:sym typeface="Montserrat"/>
              </a:rPr>
              <a:t>учащихся </a:t>
            </a:r>
            <a:r>
              <a:rPr lang="en-US" sz="2200" b="1" dirty="0" smtClean="0">
                <a:latin typeface="Times New Roman" panose="02020603050405020304" pitchFamily="18" charset="0"/>
                <a:ea typeface="Montserrat"/>
                <a:cs typeface="Times New Roman" panose="02020603050405020304" pitchFamily="18" charset="0"/>
                <a:sym typeface="Montserrat"/>
              </a:rPr>
              <a:t>PISA</a:t>
            </a:r>
            <a:r>
              <a:rPr lang="ru-RU" sz="2200" b="1" dirty="0" smtClean="0">
                <a:latin typeface="Times New Roman" panose="02020603050405020304" pitchFamily="18" charset="0"/>
                <a:ea typeface="Montserrat"/>
                <a:cs typeface="Times New Roman" panose="02020603050405020304" pitchFamily="18" charset="0"/>
                <a:sym typeface="Montserrat"/>
              </a:rPr>
              <a:t>:</a:t>
            </a:r>
            <a:endParaRPr lang="ru-RU" sz="2200" b="1" dirty="0">
              <a:latin typeface="Times New Roman" panose="02020603050405020304" pitchFamily="18" charset="0"/>
              <a:ea typeface="Montserrat"/>
              <a:cs typeface="Times New Roman" panose="02020603050405020304" pitchFamily="18" charset="0"/>
              <a:sym typeface="Montserrat"/>
            </a:endParaRPr>
          </a:p>
          <a:p>
            <a:pPr>
              <a:lnSpc>
                <a:spcPct val="80000"/>
              </a:lnSpc>
              <a:buClr>
                <a:srgbClr val="4D5156"/>
              </a:buClr>
              <a:buSzPts val="700"/>
            </a:pPr>
            <a:r>
              <a:rPr lang="ru-RU" sz="2200" b="1" dirty="0" smtClean="0">
                <a:latin typeface="Times New Roman" panose="02020603050405020304" pitchFamily="18" charset="0"/>
                <a:ea typeface="Montserrat"/>
                <a:cs typeface="Times New Roman" panose="02020603050405020304" pitchFamily="18" charset="0"/>
                <a:sym typeface="Montserrat"/>
              </a:rPr>
              <a:t> </a:t>
            </a:r>
          </a:p>
          <a:p>
            <a:pPr>
              <a:lnSpc>
                <a:spcPct val="80000"/>
              </a:lnSpc>
              <a:buClr>
                <a:srgbClr val="4D5156"/>
              </a:buClr>
              <a:buSzPts val="700"/>
            </a:pPr>
            <a:r>
              <a:rPr lang="ru-RU" sz="2200" b="1" dirty="0" smtClean="0">
                <a:latin typeface="Times New Roman" panose="02020603050405020304" pitchFamily="18" charset="0"/>
                <a:ea typeface="Montserrat"/>
                <a:cs typeface="Times New Roman" panose="02020603050405020304" pitchFamily="18" charset="0"/>
                <a:sym typeface="Montserrat"/>
              </a:rPr>
              <a:t> - 43 региона РФ</a:t>
            </a:r>
          </a:p>
          <a:p>
            <a:pPr>
              <a:lnSpc>
                <a:spcPct val="80000"/>
              </a:lnSpc>
              <a:buClr>
                <a:srgbClr val="4D5156"/>
              </a:buClr>
              <a:buSzPts val="700"/>
            </a:pPr>
            <a:r>
              <a:rPr lang="ru-RU" sz="2200" b="1" dirty="0" smtClean="0">
                <a:latin typeface="Times New Roman" panose="02020603050405020304" pitchFamily="18" charset="0"/>
                <a:ea typeface="Montserrat"/>
                <a:cs typeface="Times New Roman" panose="02020603050405020304" pitchFamily="18" charset="0"/>
                <a:sym typeface="Montserrat"/>
              </a:rPr>
              <a:t> - 265 </a:t>
            </a:r>
            <a:r>
              <a:rPr lang="ru-RU" sz="2200" b="1" dirty="0">
                <a:latin typeface="Times New Roman" panose="02020603050405020304" pitchFamily="18" charset="0"/>
                <a:ea typeface="Montserrat"/>
                <a:cs typeface="Times New Roman" panose="02020603050405020304" pitchFamily="18" charset="0"/>
                <a:sym typeface="Montserrat"/>
              </a:rPr>
              <a:t>школ</a:t>
            </a:r>
          </a:p>
          <a:p>
            <a:pPr algn="r">
              <a:lnSpc>
                <a:spcPct val="80000"/>
              </a:lnSpc>
              <a:buClr>
                <a:srgbClr val="4D5156"/>
              </a:buClr>
              <a:buSzPts val="700"/>
            </a:pPr>
            <a:endParaRPr lang="ru-RU" sz="1600" dirty="0">
              <a:solidFill>
                <a:srgbClr val="4D5156"/>
              </a:solidFill>
              <a:latin typeface="Times New Roman" panose="02020603050405020304" pitchFamily="18" charset="0"/>
              <a:ea typeface="Montserrat"/>
              <a:cs typeface="Times New Roman" panose="02020603050405020304" pitchFamily="18" charset="0"/>
              <a:sym typeface="Montserrat"/>
            </a:endParaRPr>
          </a:p>
          <a:p>
            <a:pPr algn="just">
              <a:lnSpc>
                <a:spcPct val="80000"/>
              </a:lnSpc>
              <a:buClr>
                <a:srgbClr val="4D5156"/>
              </a:buClr>
              <a:buSzPts val="700"/>
            </a:pPr>
            <a:endParaRPr lang="ru-RU" sz="1600" dirty="0" smtClean="0">
              <a:solidFill>
                <a:srgbClr val="4D5156"/>
              </a:solidFill>
              <a:latin typeface="Times New Roman" panose="02020603050405020304" pitchFamily="18" charset="0"/>
              <a:ea typeface="Montserrat"/>
              <a:cs typeface="Times New Roman" panose="02020603050405020304" pitchFamily="18" charset="0"/>
              <a:sym typeface="Montserrat"/>
            </a:endParaRPr>
          </a:p>
          <a:p>
            <a:pPr algn="just">
              <a:lnSpc>
                <a:spcPct val="80000"/>
              </a:lnSpc>
              <a:buClr>
                <a:srgbClr val="4D5156"/>
              </a:buClr>
              <a:buSzPts val="700"/>
            </a:pPr>
            <a:endParaRPr sz="1600" dirty="0">
              <a:solidFill>
                <a:srgbClr val="4D5156"/>
              </a:solidFill>
              <a:latin typeface="Times New Roman" panose="02020603050405020304" pitchFamily="18" charset="0"/>
              <a:ea typeface="Montserrat"/>
              <a:cs typeface="Times New Roman" panose="02020603050405020304" pitchFamily="18" charset="0"/>
              <a:sym typeface="Montserrat"/>
            </a:endParaRPr>
          </a:p>
        </p:txBody>
      </p:sp>
      <p:sp>
        <p:nvSpPr>
          <p:cNvPr id="19" name="Google Shape;202;g10404eab96a_0_40"/>
          <p:cNvSpPr txBox="1"/>
          <p:nvPr/>
        </p:nvSpPr>
        <p:spPr>
          <a:xfrm>
            <a:off x="5490645" y="4000504"/>
            <a:ext cx="3439073" cy="1857388"/>
          </a:xfrm>
          <a:prstGeom prst="rect">
            <a:avLst/>
          </a:prstGeom>
          <a:noFill/>
          <a:ln w="9525" cap="flat" cmpd="sng">
            <a:solidFill>
              <a:srgbClr val="9E9E9E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27000" tIns="27000" rIns="27000" bIns="27000" anchor="t" anchorCtr="0">
            <a:noAutofit/>
          </a:bodyPr>
          <a:lstStyle/>
          <a:p>
            <a:pPr algn="just">
              <a:lnSpc>
                <a:spcPct val="80000"/>
              </a:lnSpc>
              <a:buClr>
                <a:srgbClr val="4D5156"/>
              </a:buClr>
              <a:buSzPts val="700"/>
            </a:pPr>
            <a:endParaRPr lang="ru-RU" sz="1600" dirty="0" smtClean="0">
              <a:solidFill>
                <a:srgbClr val="4D5156"/>
              </a:solidFill>
              <a:latin typeface="Times New Roman" panose="02020603050405020304" pitchFamily="18" charset="0"/>
              <a:ea typeface="Montserrat"/>
              <a:cs typeface="Times New Roman" panose="02020603050405020304" pitchFamily="18" charset="0"/>
              <a:sym typeface="Montserrat"/>
            </a:endParaRPr>
          </a:p>
          <a:p>
            <a:pPr algn="just">
              <a:lnSpc>
                <a:spcPct val="80000"/>
              </a:lnSpc>
              <a:buClr>
                <a:srgbClr val="4D5156"/>
              </a:buClr>
              <a:buSzPts val="700"/>
            </a:pPr>
            <a:r>
              <a:rPr lang="ru-RU" sz="2400" b="1" dirty="0" smtClean="0">
                <a:latin typeface="Times New Roman" panose="02020603050405020304" pitchFamily="18" charset="0"/>
                <a:ea typeface="Montserrat"/>
                <a:cs typeface="Times New Roman" panose="02020603050405020304" pitchFamily="18" charset="0"/>
                <a:sym typeface="Montserrat"/>
              </a:rPr>
              <a:t>Реализация обновленных ФГОС в штатном режиме во всех школах Российской Федерации</a:t>
            </a:r>
            <a:endParaRPr sz="2400" b="1" dirty="0">
              <a:latin typeface="Times New Roman" panose="02020603050405020304" pitchFamily="18" charset="0"/>
              <a:ea typeface="Montserrat"/>
              <a:cs typeface="Times New Roman" panose="02020603050405020304" pitchFamily="18" charset="0"/>
              <a:sym typeface="Montserrat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00034" y="214290"/>
            <a:ext cx="5929354" cy="646327"/>
          </a:xfrm>
          <a:prstGeom prst="rect">
            <a:avLst/>
          </a:prstGeom>
          <a:noFill/>
        </p:spPr>
        <p:txBody>
          <a:bodyPr wrap="square" lIns="91426" tIns="45718" rIns="91426" bIns="45718" rtlCol="0">
            <a:spAutoFit/>
          </a:bodyPr>
          <a:lstStyle/>
          <a:p>
            <a:r>
              <a:rPr lang="ru-RU" sz="3600" b="1" dirty="0" smtClean="0">
                <a:solidFill>
                  <a:srgbClr val="4472C4">
                    <a:lumMod val="50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лючевые задачи 2022 года</a:t>
            </a:r>
            <a:endParaRPr lang="ru-RU" sz="3600" b="1" dirty="0">
              <a:solidFill>
                <a:srgbClr val="4472C4">
                  <a:lumMod val="50000"/>
                </a:srgb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860841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Заголовок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214438"/>
          </a:xfrm>
        </p:spPr>
        <p:txBody>
          <a:bodyPr/>
          <a:lstStyle/>
          <a:p>
            <a:endParaRPr lang="ru-RU" sz="3200" b="1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3427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smtClean="0"/>
          </a:p>
        </p:txBody>
      </p:sp>
      <p:sp>
        <p:nvSpPr>
          <p:cNvPr id="5" name="Прямоугольник 4"/>
          <p:cNvSpPr/>
          <p:nvPr/>
        </p:nvSpPr>
        <p:spPr>
          <a:xfrm>
            <a:off x="285720" y="1928802"/>
            <a:ext cx="3957638" cy="378620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3200" b="1" dirty="0">
                <a:latin typeface="Times New Roman" pitchFamily="18" charset="0"/>
                <a:cs typeface="Times New Roman" pitchFamily="18" charset="0"/>
              </a:rPr>
              <a:t>Обновление содержания общего образования</a:t>
            </a:r>
          </a:p>
          <a:p>
            <a:pPr algn="ctr">
              <a:defRPr/>
            </a:pPr>
            <a:r>
              <a:rPr lang="ru-RU" sz="3200" b="1" dirty="0">
                <a:latin typeface="Times New Roman" pitchFamily="18" charset="0"/>
                <a:cs typeface="Times New Roman" pitchFamily="18" charset="0"/>
              </a:rPr>
              <a:t>Примерные рабочие программы учебных предметов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4786314" y="2000240"/>
            <a:ext cx="4143375" cy="37147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3200" b="1" dirty="0">
                <a:latin typeface="Times New Roman" pitchFamily="18" charset="0"/>
                <a:cs typeface="Times New Roman" pitchFamily="18" charset="0"/>
              </a:rPr>
              <a:t>Планируемые результаты </a:t>
            </a:r>
            <a:r>
              <a:rPr lang="ru-RU" sz="3200" b="1" dirty="0" err="1">
                <a:latin typeface="Times New Roman" pitchFamily="18" charset="0"/>
                <a:cs typeface="Times New Roman" pitchFamily="18" charset="0"/>
              </a:rPr>
              <a:t>метапредметные</a:t>
            </a:r>
            <a:r>
              <a:rPr lang="ru-RU" sz="3200" b="1" dirty="0">
                <a:latin typeface="Times New Roman" pitchFamily="18" charset="0"/>
                <a:cs typeface="Times New Roman" pitchFamily="18" charset="0"/>
              </a:rPr>
              <a:t> и предметные</a:t>
            </a:r>
          </a:p>
          <a:p>
            <a:pPr algn="ctr">
              <a:defRPr/>
            </a:pPr>
            <a:r>
              <a:rPr lang="ru-RU" sz="3200" b="1" dirty="0">
                <a:latin typeface="Times New Roman" pitchFamily="18" charset="0"/>
                <a:cs typeface="Times New Roman" pitchFamily="18" charset="0"/>
              </a:rPr>
              <a:t>Универсальные кодификаторы</a:t>
            </a:r>
          </a:p>
        </p:txBody>
      </p:sp>
      <p:sp>
        <p:nvSpPr>
          <p:cNvPr id="7" name="Выноска со стрелкой вниз 6"/>
          <p:cNvSpPr/>
          <p:nvPr/>
        </p:nvSpPr>
        <p:spPr>
          <a:xfrm>
            <a:off x="285720" y="214290"/>
            <a:ext cx="8572500" cy="1930401"/>
          </a:xfrm>
          <a:prstGeom prst="downArrow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3600" b="1" dirty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есурсы </a:t>
            </a:r>
            <a:r>
              <a:rPr lang="ru-RU" sz="36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реализации </a:t>
            </a:r>
            <a:r>
              <a:rPr lang="ru-RU" sz="3600" b="1" dirty="0" smtClean="0">
                <a:latin typeface="Times New Roman" pitchFamily="18" charset="0"/>
                <a:cs typeface="Times New Roman" pitchFamily="18" charset="0"/>
              </a:rPr>
              <a:t>ФГОС начального и основного общего образования 2022</a:t>
            </a:r>
            <a:endParaRPr lang="ru-RU" sz="3600" dirty="0">
              <a:solidFill>
                <a:schemeClr val="bg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85750" y="5857892"/>
            <a:ext cx="8643938" cy="77150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3200" b="1" dirty="0" smtClean="0">
                <a:latin typeface="Times New Roman" pitchFamily="18" charset="0"/>
                <a:cs typeface="Times New Roman" pitchFamily="18" charset="0"/>
              </a:rPr>
              <a:t>ВПР, ОШЭ, ЕГЭ, </a:t>
            </a:r>
            <a:r>
              <a:rPr lang="en-US" sz="3200" b="1" dirty="0" smtClean="0">
                <a:latin typeface="Times New Roman" pitchFamily="18" charset="0"/>
                <a:cs typeface="Times New Roman" pitchFamily="18" charset="0"/>
              </a:rPr>
              <a:t>PISA</a:t>
            </a:r>
            <a:endParaRPr lang="ru-RU" sz="3200" b="1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92894" y="0"/>
            <a:ext cx="8708262" cy="714357"/>
          </a:xfrm>
          <a:ln>
            <a:noFill/>
          </a:ln>
        </p:spPr>
        <p:txBody>
          <a:bodyPr>
            <a:noAutofit/>
          </a:bodyPr>
          <a:lstStyle/>
          <a:p>
            <a:r>
              <a:rPr lang="ru-RU" sz="2200" b="1" dirty="0" smtClean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Последовательность действий по введению ФГОС</a:t>
            </a:r>
            <a:endParaRPr lang="ru-RU" sz="2200" b="1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1648462174"/>
              </p:ext>
            </p:extLst>
          </p:nvPr>
        </p:nvGraphicFramePr>
        <p:xfrm>
          <a:off x="2" y="714353"/>
          <a:ext cx="9143997" cy="421484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463333"/>
                <a:gridCol w="850562"/>
                <a:gridCol w="835862"/>
                <a:gridCol w="872578"/>
                <a:gridCol w="854220"/>
                <a:gridCol w="854220"/>
                <a:gridCol w="854220"/>
                <a:gridCol w="854220"/>
                <a:gridCol w="854220"/>
                <a:gridCol w="850562"/>
              </a:tblGrid>
              <a:tr h="47587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Класс</a:t>
                      </a: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1</a:t>
                      </a: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2</a:t>
                      </a: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3</a:t>
                      </a: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4</a:t>
                      </a: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5</a:t>
                      </a: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6</a:t>
                      </a: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7</a:t>
                      </a: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8</a:t>
                      </a: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9</a:t>
                      </a: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/>
                </a:tc>
              </a:tr>
              <a:tr h="75519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</a:rPr>
                        <a:t>2022/2023 учебный год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chemeClr val="accent2"/>
                    </a:solidFill>
                  </a:tcPr>
                </a:tc>
              </a:tr>
              <a:tr h="76159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 smtClean="0">
                          <a:effectLst/>
                        </a:rPr>
                        <a:t>202</a:t>
                      </a:r>
                      <a:r>
                        <a:rPr lang="en-US" sz="1600" dirty="0" smtClean="0">
                          <a:effectLst/>
                        </a:rPr>
                        <a:t>3</a:t>
                      </a:r>
                      <a:r>
                        <a:rPr lang="ru-RU" sz="1600" dirty="0" smtClean="0">
                          <a:effectLst/>
                        </a:rPr>
                        <a:t>/202</a:t>
                      </a:r>
                      <a:r>
                        <a:rPr lang="en-US" sz="1600" dirty="0" smtClean="0">
                          <a:effectLst/>
                        </a:rPr>
                        <a:t>4</a:t>
                      </a:r>
                      <a:r>
                        <a:rPr lang="ru-RU" sz="1600" dirty="0" smtClean="0">
                          <a:effectLst/>
                        </a:rPr>
                        <a:t> </a:t>
                      </a:r>
                      <a:r>
                        <a:rPr lang="ru-RU" sz="1600" dirty="0">
                          <a:effectLst/>
                        </a:rPr>
                        <a:t>учебный год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chemeClr val="accent6"/>
                    </a:solidFill>
                  </a:tcPr>
                </a:tc>
              </a:tr>
              <a:tr h="76159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effectLst/>
                        </a:rPr>
                        <a:t>2024/2025 учебный год</a:t>
                      </a:r>
                      <a:endParaRPr lang="ru-RU" sz="16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chemeClr val="accent6"/>
                    </a:solidFill>
                  </a:tcPr>
                </a:tc>
              </a:tr>
              <a:tr h="73029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effectLst/>
                        </a:rPr>
                        <a:t>2025/2026 учебный год</a:t>
                      </a:r>
                      <a:endParaRPr lang="ru-RU" sz="16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chemeClr val="accent6"/>
                    </a:solidFill>
                  </a:tcPr>
                </a:tc>
              </a:tr>
              <a:tr h="73029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2026/2027 учебный</a:t>
                      </a:r>
                      <a:r>
                        <a:rPr lang="ru-RU" sz="1600" baseline="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 год</a:t>
                      </a:r>
                      <a:endParaRPr lang="ru-RU" sz="16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51435" marR="51435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1435" marR="51435" marT="0" marB="0">
                    <a:solidFill>
                      <a:srgbClr val="FF0000"/>
                    </a:solidFill>
                  </a:tcPr>
                </a:tc>
              </a:tr>
            </a:tbl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285720" y="5072074"/>
            <a:ext cx="8643966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Обязательное введение ФГОС</a:t>
            </a:r>
          </a:p>
          <a:p>
            <a:endParaRPr lang="ru-RU" sz="2000" b="1" dirty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Рекомендуемое введение ФГОС</a:t>
            </a:r>
            <a:endParaRPr lang="en-US" sz="2000" b="1" dirty="0" smtClean="0">
              <a:latin typeface="Times New Roman" pitchFamily="18" charset="0"/>
              <a:cs typeface="Times New Roman" pitchFamily="18" charset="0"/>
            </a:endParaRPr>
          </a:p>
          <a:p>
            <a:endParaRPr lang="en-US" sz="2000" b="1" dirty="0" smtClean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Введение </a:t>
            </a:r>
            <a:r>
              <a:rPr lang="ru-RU" sz="2000" b="1" dirty="0">
                <a:latin typeface="Times New Roman" pitchFamily="18" charset="0"/>
                <a:cs typeface="Times New Roman" pitchFamily="18" charset="0"/>
              </a:rPr>
              <a:t>ФГОС по мере готовности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4572000" y="5643578"/>
            <a:ext cx="508227" cy="372850"/>
          </a:xfrm>
          <a:prstGeom prst="rect">
            <a:avLst/>
          </a:prstGeom>
          <a:ln>
            <a:solidFill>
              <a:schemeClr val="accent6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5000628" y="6143644"/>
            <a:ext cx="508227" cy="372850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4071934" y="5143512"/>
            <a:ext cx="508227" cy="372850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678523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285729"/>
            <a:ext cx="7886700" cy="428628"/>
          </a:xfrm>
        </p:spPr>
        <p:txBody>
          <a:bodyPr>
            <a:noAutofit/>
          </a:bodyPr>
          <a:lstStyle/>
          <a:p>
            <a:pPr algn="ctr"/>
            <a:r>
              <a:rPr lang="ru-RU" sz="28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Единое содержание общего образования</a:t>
            </a:r>
            <a:endParaRPr lang="ru-RU" sz="2800" b="1" dirty="0">
              <a:solidFill>
                <a:srgbClr val="7030A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07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0" y="714356"/>
            <a:ext cx="9144000" cy="3786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" y="4429132"/>
            <a:ext cx="9144000" cy="29622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188640"/>
            <a:ext cx="8229600" cy="648072"/>
          </a:xfrm>
        </p:spPr>
        <p:txBody>
          <a:bodyPr/>
          <a:lstStyle/>
          <a:p>
            <a:r>
              <a:rPr lang="ru-RU" sz="3600" b="1" dirty="0" smtClean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новление содержания образования</a:t>
            </a:r>
            <a:endParaRPr lang="ru-RU" sz="3600" b="1" dirty="0">
              <a:solidFill>
                <a:srgbClr val="7030A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3221" t="14246" r="37521" b="22628"/>
          <a:stretch/>
        </p:blipFill>
        <p:spPr bwMode="auto">
          <a:xfrm>
            <a:off x="0" y="908720"/>
            <a:ext cx="9144000" cy="5949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40578731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346050"/>
          </a:xfrm>
        </p:spPr>
        <p:txBody>
          <a:bodyPr>
            <a:normAutofit fontScale="90000"/>
          </a:bodyPr>
          <a:lstStyle/>
          <a:p>
            <a:r>
              <a:rPr lang="ru-RU" sz="28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новление содержания образования</a:t>
            </a:r>
            <a:endParaRPr lang="ru-RU" sz="2800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29772" t="19993" r="33067" b="13472"/>
          <a:stretch/>
        </p:blipFill>
        <p:spPr bwMode="auto">
          <a:xfrm>
            <a:off x="0" y="764704"/>
            <a:ext cx="9144000" cy="6093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1130976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330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smtClean="0"/>
          </a:p>
        </p:txBody>
      </p:sp>
      <p:pic>
        <p:nvPicPr>
          <p:cNvPr id="99331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>
          <a:xfrm>
            <a:off x="0" y="0"/>
            <a:ext cx="9144000" cy="6858000"/>
          </a:xfr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54032"/>
          </a:xfrm>
        </p:spPr>
        <p:txBody>
          <a:bodyPr/>
          <a:lstStyle/>
          <a:p>
            <a:r>
              <a:rPr lang="ru-RU" sz="28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Обновление содержания по обществознанию</a:t>
            </a:r>
            <a:endParaRPr lang="ru-RU" sz="2800" b="1" dirty="0">
              <a:solidFill>
                <a:srgbClr val="7030A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357298"/>
            <a:ext cx="8229600" cy="4768865"/>
          </a:xfrm>
        </p:spPr>
        <p:txBody>
          <a:bodyPr/>
          <a:lstStyle/>
          <a:p>
            <a:pPr marL="514350" indent="-514350">
              <a:buAutoNum type="arabicPeriod"/>
            </a:pPr>
            <a:r>
              <a:rPr lang="ru-RU" sz="3600" b="1" dirty="0" smtClean="0">
                <a:solidFill>
                  <a:srgbClr val="002060"/>
                </a:solidFill>
              </a:rPr>
              <a:t>Финансовая грамотность</a:t>
            </a:r>
          </a:p>
          <a:p>
            <a:pPr marL="514350" indent="-514350">
              <a:buAutoNum type="arabicPeriod"/>
            </a:pPr>
            <a:r>
              <a:rPr lang="ru-RU" sz="3600" b="1" dirty="0" smtClean="0">
                <a:solidFill>
                  <a:srgbClr val="002060"/>
                </a:solidFill>
              </a:rPr>
              <a:t>Налоговое поведение</a:t>
            </a:r>
          </a:p>
          <a:p>
            <a:pPr marL="514350" indent="-514350">
              <a:buAutoNum type="arabicPeriod"/>
            </a:pPr>
            <a:r>
              <a:rPr lang="ru-RU" sz="3600" b="1" dirty="0" err="1" smtClean="0">
                <a:solidFill>
                  <a:srgbClr val="002060"/>
                </a:solidFill>
              </a:rPr>
              <a:t>Антикоррупционные</a:t>
            </a:r>
            <a:r>
              <a:rPr lang="ru-RU" sz="3600" b="1" dirty="0" smtClean="0">
                <a:solidFill>
                  <a:srgbClr val="002060"/>
                </a:solidFill>
              </a:rPr>
              <a:t> действия</a:t>
            </a:r>
          </a:p>
          <a:p>
            <a:pPr marL="514350" indent="-514350">
              <a:buAutoNum type="arabicPeriod"/>
            </a:pPr>
            <a:r>
              <a:rPr lang="ru-RU" sz="3600" b="1" dirty="0" smtClean="0">
                <a:solidFill>
                  <a:srgbClr val="002060"/>
                </a:solidFill>
              </a:rPr>
              <a:t>Место России в современном мире. Политика сдерживания России.</a:t>
            </a:r>
          </a:p>
          <a:p>
            <a:pPr marL="514350" indent="-514350">
              <a:buAutoNum type="arabicPeriod"/>
            </a:pPr>
            <a:r>
              <a:rPr lang="ru-RU" sz="3600" b="1" dirty="0" smtClean="0">
                <a:solidFill>
                  <a:srgbClr val="002060"/>
                </a:solidFill>
              </a:rPr>
              <a:t>Здоровый образ жизни</a:t>
            </a:r>
          </a:p>
          <a:p>
            <a:pPr marL="514350" indent="-514350">
              <a:buAutoNum type="arabicPeriod"/>
            </a:pPr>
            <a:r>
              <a:rPr lang="ru-RU" sz="3600" b="1" dirty="0" smtClean="0">
                <a:solidFill>
                  <a:srgbClr val="002060"/>
                </a:solidFill>
              </a:rPr>
              <a:t>Информационная безопасность</a:t>
            </a:r>
            <a:endParaRPr lang="ru-RU" sz="3600" b="1" dirty="0">
              <a:solidFill>
                <a:srgbClr val="002060"/>
              </a:solidFill>
            </a:endParaRPr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0761" t="22798" r="4837" b="12099"/>
          <a:stretch/>
        </p:blipFill>
        <p:spPr bwMode="auto">
          <a:xfrm>
            <a:off x="7896829" y="1508691"/>
            <a:ext cx="1247171" cy="53493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471822" y="800805"/>
            <a:ext cx="694640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/>
            <a:r>
              <a:rPr lang="ru-RU" sz="2000" dirty="0" smtClean="0">
                <a:solidFill>
                  <a:srgbClr val="660066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Количество заявок </a:t>
            </a:r>
          </a:p>
          <a:p>
            <a:pPr defTabSz="914400"/>
            <a:r>
              <a:rPr lang="ru-RU" sz="2000" dirty="0" smtClean="0">
                <a:solidFill>
                  <a:srgbClr val="660066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на апробацию примерных рабочих программ по учебным предметам</a:t>
            </a:r>
            <a:endParaRPr lang="ru-RU" sz="2000" dirty="0">
              <a:solidFill>
                <a:srgbClr val="660066"/>
              </a:solidFill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821668963"/>
              </p:ext>
            </p:extLst>
          </p:nvPr>
        </p:nvGraphicFramePr>
        <p:xfrm>
          <a:off x="542692" y="1532312"/>
          <a:ext cx="1817567" cy="459923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29998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1758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232560">
                <a:tc gridSpan="2">
                  <a:txBody>
                    <a:bodyPr/>
                    <a:lstStyle/>
                    <a:p>
                      <a:pPr algn="ctr"/>
                      <a:r>
                        <a:rPr lang="ru-RU" sz="12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ксимальное количество заявок</a:t>
                      </a:r>
                      <a:endParaRPr lang="ru-RU" sz="1200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96775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Пензенская область</a:t>
                      </a:r>
                    </a:p>
                  </a:txBody>
                  <a:tcPr marL="7144" marR="7144" marT="9525" marB="0" anchor="b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7903</a:t>
                      </a:r>
                    </a:p>
                  </a:txBody>
                  <a:tcPr marL="7144" marR="7144" marT="9525" marB="0" anchor="b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92273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Республика Башкортостан</a:t>
                      </a:r>
                    </a:p>
                  </a:txBody>
                  <a:tcPr marL="7144" marR="7144" marT="9525" marB="0" anchor="b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5517</a:t>
                      </a:r>
                    </a:p>
                  </a:txBody>
                  <a:tcPr marL="7144" marR="7144" marT="9525" marB="0" anchor="b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92273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Самарская область</a:t>
                      </a:r>
                    </a:p>
                  </a:txBody>
                  <a:tcPr marL="7144" marR="7144" marT="9525" marB="0" anchor="b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4401</a:t>
                      </a:r>
                    </a:p>
                  </a:txBody>
                  <a:tcPr marL="7144" marR="7144" marT="9525" marB="0" anchor="b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92273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Алтайский край</a:t>
                      </a:r>
                    </a:p>
                  </a:txBody>
                  <a:tcPr marL="7144" marR="7144" marT="9525" marB="0" anchor="b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3111</a:t>
                      </a:r>
                    </a:p>
                  </a:txBody>
                  <a:tcPr marL="7144" marR="7144" marT="9525" marB="0" anchor="b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92273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Московская область</a:t>
                      </a:r>
                    </a:p>
                  </a:txBody>
                  <a:tcPr marL="7144" marR="7144" marT="9525" marB="0" anchor="b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2397</a:t>
                      </a:r>
                    </a:p>
                  </a:txBody>
                  <a:tcPr marL="7144" marR="7144" marT="9525" marB="0" anchor="b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92273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Ульяновская область</a:t>
                      </a:r>
                    </a:p>
                  </a:txBody>
                  <a:tcPr marL="7144" marR="7144" marT="9525" marB="0" anchor="b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1799</a:t>
                      </a:r>
                    </a:p>
                  </a:txBody>
                  <a:tcPr marL="7144" marR="7144" marT="9525" marB="0" anchor="b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92273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Новосибирская область</a:t>
                      </a:r>
                    </a:p>
                  </a:txBody>
                  <a:tcPr marL="7144" marR="7144" marT="9525" marB="0" anchor="b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1430</a:t>
                      </a:r>
                    </a:p>
                  </a:txBody>
                  <a:tcPr marL="7144" marR="7144" marT="9525" marB="0" anchor="b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92273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Республика Бурятия</a:t>
                      </a:r>
                    </a:p>
                  </a:txBody>
                  <a:tcPr marL="7144" marR="7144" marT="9525" marB="0" anchor="b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1354</a:t>
                      </a:r>
                    </a:p>
                  </a:txBody>
                  <a:tcPr marL="7144" marR="7144" marT="9525" marB="0" anchor="b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192273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Белгородская область</a:t>
                      </a:r>
                    </a:p>
                  </a:txBody>
                  <a:tcPr marL="7144" marR="7144" marT="9525" marB="0" anchor="b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1311</a:t>
                      </a:r>
                    </a:p>
                  </a:txBody>
                  <a:tcPr marL="7144" marR="7144" marT="9525" marB="0" anchor="b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32393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Ставропольский край</a:t>
                      </a:r>
                    </a:p>
                  </a:txBody>
                  <a:tcPr marL="7144" marR="7144" marT="9525" marB="0" anchor="b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1247</a:t>
                      </a:r>
                    </a:p>
                  </a:txBody>
                  <a:tcPr marL="7144" marR="7144" marT="9525" marB="0" anchor="b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32393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Волгоградская область</a:t>
                      </a:r>
                    </a:p>
                  </a:txBody>
                  <a:tcPr marL="7144" marR="7144" marT="9525" marB="0" anchor="b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1078</a:t>
                      </a:r>
                    </a:p>
                  </a:txBody>
                  <a:tcPr marL="7144" marR="7144" marT="9525" marB="0" anchor="b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32393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Республика Татарстан (Татарстан)</a:t>
                      </a:r>
                    </a:p>
                  </a:txBody>
                  <a:tcPr marL="7144" marR="7144" marT="9525" marB="0" anchor="b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1037</a:t>
                      </a:r>
                    </a:p>
                  </a:txBody>
                  <a:tcPr marL="7144" marR="7144" marT="9525" marB="0" anchor="b"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10" name="Заголовок 1"/>
          <p:cNvSpPr txBox="1">
            <a:spLocks/>
          </p:cNvSpPr>
          <p:nvPr/>
        </p:nvSpPr>
        <p:spPr>
          <a:xfrm>
            <a:off x="1" y="-13063"/>
            <a:ext cx="9143999" cy="944191"/>
          </a:xfrm>
          <a:prstGeom prst="rect">
            <a:avLst/>
          </a:prstGeom>
          <a:noFill/>
        </p:spPr>
        <p:txBody>
          <a:bodyPr vert="horz" lIns="91426" tIns="45718" rIns="91426" bIns="45718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914241"/>
            <a:r>
              <a:rPr lang="ru-RU" sz="1900" b="1" dirty="0">
                <a:solidFill>
                  <a:srgbClr val="660066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УЧАСТИЕ СУБЪЕКТОВ РОССИЙСКОЙ ФЕДЕРАЦИИ</a:t>
            </a:r>
          </a:p>
          <a:p>
            <a:pPr algn="ctr" defTabSz="914241"/>
            <a:r>
              <a:rPr lang="ru-RU" sz="1800" b="1" dirty="0" smtClean="0">
                <a:solidFill>
                  <a:srgbClr val="66006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АПРОБАЦИИ ПРИМЕРНЫХ УЧЕБНЫХ ПРОГРАММ ПО УЧЕБНЫМ ПРЕДМЕТАМ</a:t>
            </a:r>
            <a:endParaRPr lang="ru-RU" sz="1800" b="1" dirty="0">
              <a:solidFill>
                <a:srgbClr val="66006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147689596"/>
              </p:ext>
            </p:extLst>
          </p:nvPr>
        </p:nvGraphicFramePr>
        <p:xfrm>
          <a:off x="5715008" y="3071810"/>
          <a:ext cx="2244652" cy="293612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800464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44418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311661">
                <a:tc gridSpan="2"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инимальное количество заявок</a:t>
                      </a:r>
                      <a:endParaRPr lang="ru-RU" sz="1200" b="1" dirty="0">
                        <a:solidFill>
                          <a:srgbClr val="00206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>
                    <a:solidFill>
                      <a:srgbClr val="FF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246908">
                <a:tc>
                  <a:txBody>
                    <a:bodyPr/>
                    <a:lstStyle/>
                    <a:p>
                      <a:pPr marL="0" algn="l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Республика Крым</a:t>
                      </a:r>
                    </a:p>
                  </a:txBody>
                  <a:tcPr marL="7144" marR="7144" marT="9525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29</a:t>
                      </a:r>
                    </a:p>
                  </a:txBody>
                  <a:tcPr marL="7144" marR="7144" marT="9525" marB="0" anchor="b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46908">
                <a:tc>
                  <a:txBody>
                    <a:bodyPr/>
                    <a:lstStyle/>
                    <a:p>
                      <a:pPr marL="0" algn="l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Амурская область</a:t>
                      </a:r>
                    </a:p>
                  </a:txBody>
                  <a:tcPr marL="7144" marR="7144" marT="9525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27</a:t>
                      </a:r>
                    </a:p>
                  </a:txBody>
                  <a:tcPr marL="7144" marR="7144" marT="9525" marB="0" anchor="b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246908">
                <a:tc>
                  <a:txBody>
                    <a:bodyPr/>
                    <a:lstStyle/>
                    <a:p>
                      <a:pPr marL="0" algn="l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Магаданская область</a:t>
                      </a:r>
                    </a:p>
                  </a:txBody>
                  <a:tcPr marL="7144" marR="7144" marT="9525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24</a:t>
                      </a:r>
                    </a:p>
                  </a:txBody>
                  <a:tcPr marL="7144" marR="7144" marT="9525" marB="0" anchor="b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246908">
                <a:tc>
                  <a:txBody>
                    <a:bodyPr/>
                    <a:lstStyle/>
                    <a:p>
                      <a:pPr marL="0" algn="l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Вологодская область</a:t>
                      </a:r>
                    </a:p>
                  </a:txBody>
                  <a:tcPr marL="7144" marR="7144" marT="9525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23</a:t>
                      </a:r>
                    </a:p>
                  </a:txBody>
                  <a:tcPr marL="7144" marR="7144" marT="9525" marB="0" anchor="b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246908">
                <a:tc>
                  <a:txBody>
                    <a:bodyPr/>
                    <a:lstStyle/>
                    <a:p>
                      <a:pPr marL="0" algn="l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Кировская область</a:t>
                      </a:r>
                    </a:p>
                  </a:txBody>
                  <a:tcPr marL="7144" marR="7144" marT="9525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13</a:t>
                      </a:r>
                    </a:p>
                  </a:txBody>
                  <a:tcPr marL="7144" marR="7144" marT="9525" marB="0" anchor="b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46908">
                <a:tc>
                  <a:txBody>
                    <a:bodyPr/>
                    <a:lstStyle/>
                    <a:p>
                      <a:pPr marL="0" algn="l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Тверская область</a:t>
                      </a:r>
                    </a:p>
                  </a:txBody>
                  <a:tcPr marL="7144" marR="7144" marT="9525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8</a:t>
                      </a:r>
                    </a:p>
                  </a:txBody>
                  <a:tcPr marL="7144" marR="7144" marT="9525" marB="0" anchor="b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246908">
                <a:tc>
                  <a:txBody>
                    <a:bodyPr/>
                    <a:lstStyle/>
                    <a:p>
                      <a:pPr marL="0" algn="l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Республика Саха (Якутия)</a:t>
                      </a:r>
                    </a:p>
                  </a:txBody>
                  <a:tcPr marL="7144" marR="7144" marT="9525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7144" marR="7144" marT="9525" marB="0" anchor="b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246908">
                <a:tc>
                  <a:txBody>
                    <a:bodyPr/>
                    <a:lstStyle/>
                    <a:p>
                      <a:pPr marL="0" algn="l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Чукотский автономный округ</a:t>
                      </a:r>
                    </a:p>
                  </a:txBody>
                  <a:tcPr marL="7144" marR="7144" marT="9525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7144" marR="7144" marT="9525" marB="0" anchor="b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246908">
                <a:tc>
                  <a:txBody>
                    <a:bodyPr/>
                    <a:lstStyle/>
                    <a:p>
                      <a:pPr marL="0" algn="l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Ненецкий автономный округ</a:t>
                      </a:r>
                    </a:p>
                  </a:txBody>
                  <a:tcPr marL="7144" marR="7144" marT="9525" marB="0" anchor="b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7144" marR="7144" marT="9525" marB="0" anchor="b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</a:tbl>
          </a:graphicData>
        </a:graphic>
      </p:graphicFrame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477859768"/>
              </p:ext>
            </p:extLst>
          </p:nvPr>
        </p:nvGraphicFramePr>
        <p:xfrm>
          <a:off x="2764767" y="1851512"/>
          <a:ext cx="2505482" cy="4598670"/>
        </p:xfrm>
        <a:graphic>
          <a:graphicData uri="http://schemas.openxmlformats.org/drawingml/2006/table">
            <a:tbl>
              <a:tblPr/>
              <a:tblGrid>
                <a:gridCol w="196418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4129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</a:tblGrid>
              <a:tr h="178098">
                <a:tc>
                  <a:txBody>
                    <a:bodyPr/>
                    <a:lstStyle/>
                    <a:p>
                      <a:pPr marL="0" algn="l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Республика Тыва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576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78098">
                <a:tc>
                  <a:txBody>
                    <a:bodyPr/>
                    <a:lstStyle/>
                    <a:p>
                      <a:pPr marL="0" algn="l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Курская область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564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78098">
                <a:tc>
                  <a:txBody>
                    <a:bodyPr/>
                    <a:lstStyle/>
                    <a:p>
                      <a:pPr marL="0" algn="l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Республика Марий Эл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558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78098">
                <a:tc>
                  <a:txBody>
                    <a:bodyPr/>
                    <a:lstStyle/>
                    <a:p>
                      <a:pPr marL="0" algn="l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Красноярский край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477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78098">
                <a:tc>
                  <a:txBody>
                    <a:bodyPr/>
                    <a:lstStyle/>
                    <a:p>
                      <a:pPr marL="0" algn="l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Свердловская область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464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178098">
                <a:tc>
                  <a:txBody>
                    <a:bodyPr/>
                    <a:lstStyle/>
                    <a:p>
                      <a:pPr marL="0" algn="l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Республика Ингушетия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460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347379">
                <a:tc>
                  <a:txBody>
                    <a:bodyPr/>
                    <a:lstStyle/>
                    <a:p>
                      <a:pPr marL="0" algn="l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Республика Северная Осетия - Алания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457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  <a:tr h="178098">
                <a:tc>
                  <a:txBody>
                    <a:bodyPr/>
                    <a:lstStyle/>
                    <a:p>
                      <a:pPr marL="0" algn="l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Хабаровский край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412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7"/>
                  </a:ext>
                </a:extLst>
              </a:tr>
              <a:tr h="178098">
                <a:tc>
                  <a:txBody>
                    <a:bodyPr/>
                    <a:lstStyle/>
                    <a:p>
                      <a:pPr marL="0" algn="l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Тюменская область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411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8"/>
                  </a:ext>
                </a:extLst>
              </a:tr>
              <a:tr h="178098">
                <a:tc>
                  <a:txBody>
                    <a:bodyPr/>
                    <a:lstStyle/>
                    <a:p>
                      <a:pPr marL="0" algn="l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Ямало-Ненецкий автономный округ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336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9"/>
                  </a:ext>
                </a:extLst>
              </a:tr>
              <a:tr h="178098">
                <a:tc>
                  <a:txBody>
                    <a:bodyPr/>
                    <a:lstStyle/>
                    <a:p>
                      <a:pPr marL="0" algn="l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Рязанская область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298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0"/>
                  </a:ext>
                </a:extLst>
              </a:tr>
              <a:tr h="178098">
                <a:tc>
                  <a:txBody>
                    <a:bodyPr/>
                    <a:lstStyle/>
                    <a:p>
                      <a:pPr marL="0" algn="l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Сахалинская область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276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1"/>
                  </a:ext>
                </a:extLst>
              </a:tr>
              <a:tr h="178098">
                <a:tc>
                  <a:txBody>
                    <a:bodyPr/>
                    <a:lstStyle/>
                    <a:p>
                      <a:pPr marL="0" algn="l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Калининградская область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233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2"/>
                  </a:ext>
                </a:extLst>
              </a:tr>
              <a:tr h="178098">
                <a:tc>
                  <a:txBody>
                    <a:bodyPr/>
                    <a:lstStyle/>
                    <a:p>
                      <a:pPr marL="0" algn="l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Брянская область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231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3"/>
                  </a:ext>
                </a:extLst>
              </a:tr>
              <a:tr h="178098">
                <a:tc>
                  <a:txBody>
                    <a:bodyPr/>
                    <a:lstStyle/>
                    <a:p>
                      <a:pPr marL="0" algn="l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Омская область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221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4"/>
                  </a:ext>
                </a:extLst>
              </a:tr>
              <a:tr h="178098">
                <a:tc>
                  <a:txBody>
                    <a:bodyPr/>
                    <a:lstStyle/>
                    <a:p>
                      <a:pPr marL="0" algn="l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Липецкая область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220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5"/>
                  </a:ext>
                </a:extLst>
              </a:tr>
              <a:tr h="178098">
                <a:tc>
                  <a:txBody>
                    <a:bodyPr/>
                    <a:lstStyle/>
                    <a:p>
                      <a:pPr marL="0" algn="l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Костромская область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206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6"/>
                  </a:ext>
                </a:extLst>
              </a:tr>
              <a:tr h="178098">
                <a:tc>
                  <a:txBody>
                    <a:bodyPr/>
                    <a:lstStyle/>
                    <a:p>
                      <a:pPr marL="0" algn="l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Ярославская область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203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7"/>
                  </a:ext>
                </a:extLst>
              </a:tr>
              <a:tr h="178098">
                <a:tc>
                  <a:txBody>
                    <a:bodyPr/>
                    <a:lstStyle/>
                    <a:p>
                      <a:pPr marL="0" algn="l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Республика Тыва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576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8"/>
                  </a:ext>
                </a:extLst>
              </a:tr>
              <a:tr h="178098">
                <a:tc>
                  <a:txBody>
                    <a:bodyPr/>
                    <a:lstStyle/>
                    <a:p>
                      <a:pPr marL="0" algn="l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Курская область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564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19"/>
                  </a:ext>
                </a:extLst>
              </a:tr>
              <a:tr h="178098">
                <a:tc>
                  <a:txBody>
                    <a:bodyPr/>
                    <a:lstStyle/>
                    <a:p>
                      <a:pPr marL="0" algn="l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Республика Марий Эл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558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0"/>
                  </a:ext>
                </a:extLst>
              </a:tr>
              <a:tr h="178098">
                <a:tc>
                  <a:txBody>
                    <a:bodyPr/>
                    <a:lstStyle/>
                    <a:p>
                      <a:pPr marL="0" algn="l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Красноярский край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264" rtl="0" eaLnBrk="1" fontAlgn="b" latinLnBrk="0" hangingPunct="1"/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Times New Roman"/>
                          <a:ea typeface="+mn-ea"/>
                          <a:cs typeface="+mn-cs"/>
                        </a:rPr>
                        <a:t>477</a:t>
                      </a:r>
                    </a:p>
                  </a:txBody>
                  <a:tcPr marL="7144" marR="7144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21"/>
                  </a:ext>
                </a:extLst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6386513" y="836234"/>
            <a:ext cx="2527243" cy="861770"/>
          </a:xfrm>
          <a:prstGeom prst="rect">
            <a:avLst/>
          </a:prstGeom>
          <a:noFill/>
        </p:spPr>
        <p:txBody>
          <a:bodyPr wrap="square" lIns="91426" tIns="45718" rIns="91426" bIns="45718" rtlCol="0">
            <a:spAutoFit/>
          </a:bodyPr>
          <a:lstStyle/>
          <a:p>
            <a:pPr algn="r"/>
            <a:r>
              <a:rPr lang="ru-RU" sz="3600" dirty="0" smtClean="0">
                <a:solidFill>
                  <a:srgbClr val="66006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022 </a:t>
            </a:r>
            <a:r>
              <a:rPr lang="ru-RU" sz="3600" dirty="0">
                <a:solidFill>
                  <a:srgbClr val="66006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 </a:t>
            </a:r>
            <a:endParaRPr lang="ru-RU" sz="3600" dirty="0" smtClean="0">
              <a:solidFill>
                <a:srgbClr val="66006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/>
            <a:r>
              <a:rPr lang="ru-RU" sz="1400" dirty="0" smtClean="0">
                <a:solidFill>
                  <a:srgbClr val="660066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по состоянию на 20.01.2022) </a:t>
            </a:r>
            <a:endParaRPr lang="ru-RU" sz="1400" dirty="0">
              <a:solidFill>
                <a:srgbClr val="660066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4" name="Рисунок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08845" y="150009"/>
            <a:ext cx="546100" cy="615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889684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Заголовок 1">
            <a:extLst>
              <a:ext uri="{FF2B5EF4-FFF2-40B4-BE49-F238E27FC236}">
                <a16:creationId xmlns:a16="http://schemas.microsoft.com/office/drawing/2014/main" xmlns="" id="{E5BC1B9F-F7DC-4AF4-8F1E-E165D1DE0F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57200"/>
          </a:xfrm>
        </p:spPr>
        <p:txBody>
          <a:bodyPr>
            <a:normAutofit fontScale="90000"/>
          </a:bodyPr>
          <a:lstStyle/>
          <a:p>
            <a:r>
              <a:rPr lang="ru-RU" altLang="ru-RU" sz="2800" b="1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 ФИПИ: Кодификатор по географии 5-9</a:t>
            </a:r>
            <a:endParaRPr lang="ru-RU" altLang="ru-RU" sz="2800"/>
          </a:p>
        </p:txBody>
      </p:sp>
      <p:pic>
        <p:nvPicPr>
          <p:cNvPr id="57347" name="Объект 4">
            <a:extLst>
              <a:ext uri="{FF2B5EF4-FFF2-40B4-BE49-F238E27FC236}">
                <a16:creationId xmlns:a16="http://schemas.microsoft.com/office/drawing/2014/main" xmlns="" id="{E3BD6424-5924-47E6-A161-0D0D7F7F719B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1536" t="16542" r="30321" b="7091"/>
          <a:stretch>
            <a:fillRect/>
          </a:stretch>
        </p:blipFill>
        <p:spPr>
          <a:xfrm>
            <a:off x="250825" y="754063"/>
            <a:ext cx="8642350" cy="5988050"/>
          </a:xfrm>
        </p:spPr>
      </p:pic>
    </p:spTree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90" name="Заголовок 1">
            <a:extLst>
              <a:ext uri="{FF2B5EF4-FFF2-40B4-BE49-F238E27FC236}">
                <a16:creationId xmlns:a16="http://schemas.microsoft.com/office/drawing/2014/main" xmlns="" id="{BDE0E08A-E983-4C89-A9B1-3C504855D0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27050"/>
          </a:xfrm>
        </p:spPr>
        <p:txBody>
          <a:bodyPr/>
          <a:lstStyle/>
          <a:p>
            <a:r>
              <a:rPr lang="ru-RU" altLang="ru-RU" sz="2800" b="1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 ФИПИ: Кодификатор по географии 5-9</a:t>
            </a:r>
            <a:endParaRPr lang="ru-RU" altLang="ru-RU"/>
          </a:p>
        </p:txBody>
      </p:sp>
      <p:pic>
        <p:nvPicPr>
          <p:cNvPr id="89091" name="Объект 4">
            <a:extLst>
              <a:ext uri="{FF2B5EF4-FFF2-40B4-BE49-F238E27FC236}">
                <a16:creationId xmlns:a16="http://schemas.microsoft.com/office/drawing/2014/main" xmlns="" id="{68FE2ACA-D8A7-428C-9DAE-CA691B936BC8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5500" t="10548" r="16750"/>
          <a:stretch>
            <a:fillRect/>
          </a:stretch>
        </p:blipFill>
        <p:spPr>
          <a:xfrm>
            <a:off x="107950" y="801688"/>
            <a:ext cx="9036050" cy="5940425"/>
          </a:xfrm>
        </p:spPr>
      </p:pic>
    </p:spTree>
    <p:extLst>
      <p:ext uri="{BB962C8B-B14F-4D97-AF65-F5344CB8AC3E}">
        <p14:creationId xmlns:p14="http://schemas.microsoft.com/office/powerpoint/2010/main" xmlns="" val="17557823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14" name="Заголовок 1">
            <a:extLst>
              <a:ext uri="{FF2B5EF4-FFF2-40B4-BE49-F238E27FC236}">
                <a16:creationId xmlns:a16="http://schemas.microsoft.com/office/drawing/2014/main" xmlns="" id="{2382E1D5-8718-42C8-B3D1-0114ABD238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27050"/>
          </a:xfrm>
        </p:spPr>
        <p:txBody>
          <a:bodyPr/>
          <a:lstStyle/>
          <a:p>
            <a:r>
              <a:rPr lang="ru-RU" altLang="ru-RU" sz="2800" b="1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 ФИПИ: Кодификатор по географии 5-9</a:t>
            </a:r>
            <a:endParaRPr lang="ru-RU" altLang="ru-RU"/>
          </a:p>
        </p:txBody>
      </p:sp>
      <p:pic>
        <p:nvPicPr>
          <p:cNvPr id="90115" name="Объект 4">
            <a:extLst>
              <a:ext uri="{FF2B5EF4-FFF2-40B4-BE49-F238E27FC236}">
                <a16:creationId xmlns:a16="http://schemas.microsoft.com/office/drawing/2014/main" xmlns="" id="{EB317DB9-6A39-4467-B60E-08FEBC7B1A3F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8127" t="10548" r="25500"/>
          <a:stretch>
            <a:fillRect/>
          </a:stretch>
        </p:blipFill>
        <p:spPr>
          <a:xfrm>
            <a:off x="107950" y="801688"/>
            <a:ext cx="8928100" cy="5940425"/>
          </a:xfr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/>
          <p:cNvSpPr/>
          <p:nvPr/>
        </p:nvSpPr>
        <p:spPr>
          <a:xfrm>
            <a:off x="1214414" y="285728"/>
            <a:ext cx="671517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b="1" dirty="0" smtClean="0">
                <a:solidFill>
                  <a:srgbClr val="660066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ПОСЛЕДОВАТЕЛЬНОСТЬ ДЕЙСТВИЙ ПО ВВЕДЕНИЮ </a:t>
            </a:r>
          </a:p>
          <a:p>
            <a:r>
              <a:rPr lang="ru-RU" sz="1800" b="1" dirty="0" smtClean="0">
                <a:solidFill>
                  <a:srgbClr val="660066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ОБНОВЛЕННЫХ ФГОС НОО и ООО</a:t>
            </a:r>
            <a:endParaRPr lang="ru-RU" dirty="0"/>
          </a:p>
        </p:txBody>
      </p:sp>
      <p:pic>
        <p:nvPicPr>
          <p:cNvPr id="16" name="Рисунок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4756" y="171763"/>
            <a:ext cx="546100" cy="6159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2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0761" t="22798" r="4837" b="12099"/>
          <a:stretch/>
        </p:blipFill>
        <p:spPr bwMode="auto">
          <a:xfrm>
            <a:off x="7558386" y="980530"/>
            <a:ext cx="1585615" cy="58774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261066831"/>
              </p:ext>
            </p:extLst>
          </p:nvPr>
        </p:nvGraphicFramePr>
        <p:xfrm>
          <a:off x="1" y="1142982"/>
          <a:ext cx="9144000" cy="5715017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1292473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77124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79653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821818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847105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720672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  <a:gridCol w="1137902">
                  <a:extLst>
                    <a:ext uri="{9D8B030D-6E8A-4147-A177-3AD203B41FA5}">
                      <a16:colId xmlns="" xmlns:a16="http://schemas.microsoft.com/office/drawing/2014/main" val="20006"/>
                    </a:ext>
                  </a:extLst>
                </a:gridCol>
                <a:gridCol w="1024111">
                  <a:extLst>
                    <a:ext uri="{9D8B030D-6E8A-4147-A177-3AD203B41FA5}">
                      <a16:colId xmlns="" xmlns:a16="http://schemas.microsoft.com/office/drawing/2014/main" val="20007"/>
                    </a:ext>
                  </a:extLst>
                </a:gridCol>
                <a:gridCol w="897679">
                  <a:extLst>
                    <a:ext uri="{9D8B030D-6E8A-4147-A177-3AD203B41FA5}">
                      <a16:colId xmlns="" xmlns:a16="http://schemas.microsoft.com/office/drawing/2014/main" val="20008"/>
                    </a:ext>
                  </a:extLst>
                </a:gridCol>
                <a:gridCol w="834463">
                  <a:extLst>
                    <a:ext uri="{9D8B030D-6E8A-4147-A177-3AD203B41FA5}">
                      <a16:colId xmlns="" xmlns:a16="http://schemas.microsoft.com/office/drawing/2014/main" val="20009"/>
                    </a:ext>
                  </a:extLst>
                </a:gridCol>
              </a:tblGrid>
              <a:tr h="46941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ласс</a:t>
                      </a:r>
                      <a:endParaRPr lang="ru-RU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1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8079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1" kern="12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2/2023 уч. год</a:t>
                      </a:r>
                      <a:endParaRPr lang="ru-RU" sz="1800" b="1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8079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1" kern="12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</a:t>
                      </a:r>
                      <a:r>
                        <a:rPr lang="en-US" sz="1800" b="1" kern="12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ru-RU" sz="1800" b="1" kern="12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/202</a:t>
                      </a:r>
                      <a:r>
                        <a:rPr lang="en-US" sz="1800" b="1" kern="12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r>
                        <a:rPr lang="ru-RU" sz="1800" b="1" kern="12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уч. год</a:t>
                      </a:r>
                      <a:endParaRPr lang="ru-RU" sz="1800" b="1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8079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1" kern="12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4/2025 уч. год</a:t>
                      </a:r>
                      <a:endParaRPr lang="ru-RU" sz="1800" b="1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8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8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8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8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8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8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8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8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8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8079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1" kern="12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5/2026 уч. год</a:t>
                      </a:r>
                      <a:endParaRPr lang="ru-RU" sz="1800" b="1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8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8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8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8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8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8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8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8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8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92D05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8079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1" kern="12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6/2027 уч. год</a:t>
                      </a:r>
                      <a:endParaRPr lang="ru-RU" sz="1800" b="1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8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8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8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8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8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8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8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8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8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1205901">
                <a:tc gridSpan="6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язательное </a:t>
                      </a:r>
                      <a:r>
                        <a:rPr lang="ru-RU" sz="18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ведение ФГОС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комендуемое введение ФГОС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ведение ФГОС по мере готовности</a:t>
                      </a:r>
                      <a:endParaRPr lang="ru-RU" sz="18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20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952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ествознание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изика, информатика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kern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имия, ОБЖ</a:t>
                      </a:r>
                      <a:endParaRPr lang="ru-RU" sz="18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</a:pPr>
                      <a:endParaRPr lang="ru-RU" sz="18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9525" marB="0"/>
                </a:tc>
                <a:extLst>
                  <a:ext uri="{0D108BD9-81ED-4DB2-BD59-A6C34878D82A}">
                    <a16:rowId xmlns="" xmlns:a16="http://schemas.microsoft.com/office/drawing/2014/main" val="10006"/>
                  </a:ext>
                </a:extLst>
              </a:tr>
            </a:tbl>
          </a:graphicData>
        </a:graphic>
      </p:graphicFrame>
      <p:grpSp>
        <p:nvGrpSpPr>
          <p:cNvPr id="2" name="Группа 21"/>
          <p:cNvGrpSpPr/>
          <p:nvPr/>
        </p:nvGrpSpPr>
        <p:grpSpPr>
          <a:xfrm>
            <a:off x="3643306" y="5786454"/>
            <a:ext cx="789689" cy="852691"/>
            <a:chOff x="6169454" y="6226174"/>
            <a:chExt cx="896206" cy="462177"/>
          </a:xfrm>
        </p:grpSpPr>
        <p:sp>
          <p:nvSpPr>
            <p:cNvPr id="19" name="Прямоугольник 18"/>
            <p:cNvSpPr/>
            <p:nvPr/>
          </p:nvSpPr>
          <p:spPr>
            <a:xfrm>
              <a:off x="6339744" y="6386204"/>
              <a:ext cx="499206" cy="122483"/>
            </a:xfrm>
            <a:prstGeom prst="rect">
              <a:avLst/>
            </a:prstGeom>
            <a:solidFill>
              <a:srgbClr val="70AD47"/>
            </a:solidFill>
            <a:ln w="12700" cap="flat" cmpd="sng" algn="ctr">
              <a:solidFill>
                <a:srgbClr val="70AD47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endParaRPr lang="ru-RU" dirty="0">
                <a:solidFill>
                  <a:srgbClr val="660033"/>
                </a:solidFill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6599667" y="6561813"/>
              <a:ext cx="465993" cy="126538"/>
            </a:xfrm>
            <a:prstGeom prst="rect">
              <a:avLst/>
            </a:prstGeom>
            <a:solidFill>
              <a:srgbClr val="FFC000"/>
            </a:solidFill>
            <a:ln w="12700" cap="flat" cmpd="sng" algn="ctr">
              <a:solidFill>
                <a:srgbClr val="ED7D31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endParaRPr lang="ru-RU" dirty="0">
                <a:solidFill>
                  <a:srgbClr val="660033"/>
                </a:solidFill>
              </a:endParaRP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6169454" y="6226174"/>
              <a:ext cx="430212" cy="114300"/>
            </a:xfrm>
            <a:prstGeom prst="rect">
              <a:avLst/>
            </a:prstGeom>
            <a:solidFill>
              <a:srgbClr val="FF0000"/>
            </a:solidFill>
            <a:ln w="12700" cap="flat" cmpd="sng" algn="ctr">
              <a:solidFill>
                <a:srgbClr val="FF0000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endParaRPr lang="ru-RU" dirty="0">
                <a:solidFill>
                  <a:srgbClr val="660033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518256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Заголовок 1">
            <a:extLst>
              <a:ext uri="{FF2B5EF4-FFF2-40B4-BE49-F238E27FC236}">
                <a16:creationId xmlns:a16="http://schemas.microsoft.com/office/drawing/2014/main" xmlns="" id="{93842426-234F-45EA-A124-789D24B896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527050"/>
          </a:xfrm>
        </p:spPr>
        <p:txBody>
          <a:bodyPr/>
          <a:lstStyle/>
          <a:p>
            <a:r>
              <a:rPr lang="ru-RU" altLang="ru-RU" sz="2800" b="1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 ФИПИ: Кодификатор по географии 5-9</a:t>
            </a:r>
            <a:endParaRPr lang="ru-RU" altLang="ru-RU"/>
          </a:p>
        </p:txBody>
      </p:sp>
      <p:pic>
        <p:nvPicPr>
          <p:cNvPr id="91139" name="Объект 4">
            <a:extLst>
              <a:ext uri="{FF2B5EF4-FFF2-40B4-BE49-F238E27FC236}">
                <a16:creationId xmlns:a16="http://schemas.microsoft.com/office/drawing/2014/main" xmlns="" id="{09637204-CE75-4E49-9983-931C1446AB90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22000" t="17114" r="18500"/>
          <a:stretch>
            <a:fillRect/>
          </a:stretch>
        </p:blipFill>
        <p:spPr>
          <a:xfrm>
            <a:off x="0" y="801688"/>
            <a:ext cx="9144000" cy="6056312"/>
          </a:xfrm>
        </p:spPr>
      </p:pic>
    </p:spTree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1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011222"/>
          </a:xfrm>
        </p:spPr>
        <p:txBody>
          <a:bodyPr/>
          <a:lstStyle/>
          <a:p>
            <a:pPr algn="l"/>
            <a:r>
              <a:rPr lang="ru-RU" sz="28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Универсальный кодификатор. </a:t>
            </a:r>
            <a:br>
              <a:rPr lang="ru-RU" sz="28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8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                                     </a:t>
            </a:r>
            <a:r>
              <a:rPr lang="ru-RU" sz="2800" b="1" dirty="0" err="1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Метапредметные</a:t>
            </a:r>
            <a:r>
              <a:rPr lang="ru-RU" sz="28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 результаты</a:t>
            </a:r>
            <a:endParaRPr lang="ru-RU" sz="2800" b="1" dirty="0">
              <a:solidFill>
                <a:srgbClr val="7030A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214282" y="1285860"/>
            <a:ext cx="8715436" cy="5357850"/>
          </a:xfrm>
        </p:spPr>
        <p:txBody>
          <a:bodyPr/>
          <a:lstStyle/>
          <a:p>
            <a:pPr>
              <a:buNone/>
            </a:pPr>
            <a:r>
              <a:rPr lang="ru-RU" sz="2000" b="1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1. Умение определять понятия, создавать обобщения, устанавливать аналогии, классифицировать, самостоятельно выбирать основания и критерии для классификации, устанавливать </a:t>
            </a:r>
            <a:r>
              <a:rPr lang="ru-RU" sz="20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причинно-следственные</a:t>
            </a:r>
            <a:r>
              <a:rPr lang="ru-RU" sz="2000" b="1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связи, строить логическое рассуждение, умозаключение (индуктивное, дедуктивное и по аналогии) и делать выводы</a:t>
            </a:r>
            <a:endParaRPr lang="ru-RU" sz="20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buNone/>
            </a:pPr>
            <a:r>
              <a:rPr lang="ru-RU" sz="2000" b="1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2. Умение создавать, применять и преобразовывать</a:t>
            </a:r>
            <a:r>
              <a:rPr lang="ru-RU" sz="20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знаки и символы, </a:t>
            </a:r>
            <a:r>
              <a:rPr lang="ru-RU" sz="2000" b="1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модели и схемы для решения учебных и познавательных задач</a:t>
            </a:r>
            <a:endParaRPr lang="ru-RU" sz="20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buNone/>
            </a:pPr>
            <a:r>
              <a:rPr lang="ru-RU" sz="2000" b="1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20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Смысловое</a:t>
            </a:r>
            <a:r>
              <a:rPr lang="ru-RU" sz="2000" b="1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чтение</a:t>
            </a:r>
            <a:endParaRPr lang="ru-RU" sz="20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buNone/>
            </a:pPr>
            <a:r>
              <a:rPr lang="ru-RU" sz="2000" b="1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4. Умение осознанно использовать речевые средства в соответствии с </a:t>
            </a:r>
            <a:r>
              <a:rPr lang="ru-RU" sz="20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задачей коммуникации </a:t>
            </a:r>
            <a:r>
              <a:rPr lang="ru-RU" sz="2000" b="1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для выражения своих чувств, мыслей и потребностей; планирования и регуляции своей деятельности; владение устной и письменной речью, монологической контекстной речью</a:t>
            </a:r>
            <a:endParaRPr lang="ru-RU" sz="20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buNone/>
            </a:pPr>
            <a:r>
              <a:rPr lang="ru-RU" sz="2000" b="1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5. Формирование и развитие компетентности в области использования </a:t>
            </a:r>
            <a:r>
              <a:rPr lang="ru-RU" sz="20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информационно-коммуникационных технологий</a:t>
            </a:r>
            <a:r>
              <a:rPr lang="ru-RU" sz="2000" b="1" i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; развитие мотивации к овладению культурой активного пользования словарями и другими поисковыми системами.</a:t>
            </a:r>
            <a:endParaRPr lang="ru-RU" sz="2000" b="1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dirty="0"/>
          </a:p>
        </p:txBody>
      </p:sp>
    </p:spTree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smtClean="0"/>
          </a:p>
        </p:txBody>
      </p:sp>
      <p:pic>
        <p:nvPicPr>
          <p:cNvPr id="29699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>
          <a:xfrm>
            <a:off x="0" y="0"/>
            <a:ext cx="9144000" cy="6858000"/>
          </a:xfr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="" xmlns:a16="http://schemas.microsoft.com/office/drawing/2014/main" id="{0863EEDA-C439-48FD-A2C0-F1361287CF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5" name="Объект 4">
            <a:extLst>
              <a:ext uri="{FF2B5EF4-FFF2-40B4-BE49-F238E27FC236}">
                <a16:creationId xmlns="" xmlns:a16="http://schemas.microsoft.com/office/drawing/2014/main" id="{EA12A360-DD49-4DCF-99F4-CABC297AC6C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7088" t="10687" r="5261"/>
          <a:stretch/>
        </p:blipFill>
        <p:spPr>
          <a:xfrm>
            <a:off x="0" y="188640"/>
            <a:ext cx="9036496" cy="6480720"/>
          </a:xfrm>
        </p:spPr>
      </p:pic>
    </p:spTree>
    <p:extLst>
      <p:ext uri="{BB962C8B-B14F-4D97-AF65-F5344CB8AC3E}">
        <p14:creationId xmlns="" xmlns:p14="http://schemas.microsoft.com/office/powerpoint/2010/main" val="74662805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0" y="214290"/>
            <a:ext cx="9144000" cy="66437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B9A99933-3443-4EF5-9924-1E9FB62C99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5" name="Объект 4">
            <a:extLst>
              <a:ext uri="{FF2B5EF4-FFF2-40B4-BE49-F238E27FC236}">
                <a16:creationId xmlns:a16="http://schemas.microsoft.com/office/drawing/2014/main" xmlns="" id="{896C8C9C-5ACB-4E2A-B57C-513E798FB3B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15876" t="15473" r="12376" b="13930"/>
          <a:stretch/>
        </p:blipFill>
        <p:spPr>
          <a:xfrm>
            <a:off x="0" y="116632"/>
            <a:ext cx="9036496" cy="6466730"/>
          </a:xfrm>
        </p:spPr>
      </p:pic>
    </p:spTree>
    <p:extLst>
      <p:ext uri="{BB962C8B-B14F-4D97-AF65-F5344CB8AC3E}">
        <p14:creationId xmlns="" xmlns:p14="http://schemas.microsoft.com/office/powerpoint/2010/main" val="365442207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1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1922698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smtClean="0"/>
          </a:p>
        </p:txBody>
      </p:sp>
      <p:pic>
        <p:nvPicPr>
          <p:cNvPr id="29699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>
          <a:xfrm>
            <a:off x="0" y="0"/>
            <a:ext cx="9144000" cy="6643710"/>
          </a:xfrm>
          <a:noFill/>
        </p:spPr>
      </p:pic>
    </p:spTree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7"/>
            <a:ext cx="7886700" cy="849296"/>
          </a:xfrm>
        </p:spPr>
        <p:txBody>
          <a:bodyPr/>
          <a:lstStyle/>
          <a:p>
            <a:r>
              <a:rPr lang="ru-RU" sz="36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НИКО, 6 класс, октябрь 2021 года</a:t>
            </a:r>
            <a:endParaRPr lang="ru-RU" dirty="0"/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0" y="1071546"/>
            <a:ext cx="9144000" cy="2152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3214686"/>
            <a:ext cx="8929718" cy="3143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14282" y="214290"/>
            <a:ext cx="8443914" cy="571504"/>
          </a:xfrm>
        </p:spPr>
        <p:txBody>
          <a:bodyPr/>
          <a:lstStyle/>
          <a:p>
            <a:r>
              <a:rPr lang="ru-RU" sz="24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ФГОС начального и основного общего образования </a:t>
            </a:r>
            <a:br>
              <a:rPr lang="ru-RU" sz="24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4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Общие положения</a:t>
            </a:r>
            <a:endParaRPr lang="ru-RU" sz="2400" b="1" dirty="0">
              <a:solidFill>
                <a:srgbClr val="7030A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214282" y="1071546"/>
            <a:ext cx="8501154" cy="5483245"/>
          </a:xfrm>
        </p:spPr>
        <p:txBody>
          <a:bodyPr/>
          <a:lstStyle/>
          <a:p>
            <a:pPr>
              <a:buNone/>
            </a:pPr>
            <a:r>
              <a:rPr lang="ru-RU" sz="2400" dirty="0" smtClean="0">
                <a:latin typeface="Times New Roman" pitchFamily="18" charset="0"/>
                <a:cs typeface="Times New Roman" pitchFamily="18" charset="0"/>
              </a:rPr>
              <a:t>14. С</a:t>
            </a:r>
            <a:r>
              <a:rPr lang="ru-RU" sz="2400" dirty="0" smtClean="0">
                <a:solidFill>
                  <a:srgbClr val="000066"/>
                </a:solidFill>
                <a:latin typeface="Times New Roman" pitchFamily="18" charset="0"/>
                <a:cs typeface="Times New Roman" pitchFamily="18" charset="0"/>
              </a:rPr>
              <a:t>татус </a:t>
            </a:r>
            <a:r>
              <a:rPr lang="ru-RU" sz="2400" b="1" dirty="0" smtClean="0">
                <a:solidFill>
                  <a:srgbClr val="000066"/>
                </a:solidFill>
                <a:latin typeface="Times New Roman" pitchFamily="18" charset="0"/>
                <a:cs typeface="Times New Roman" pitchFamily="18" charset="0"/>
              </a:rPr>
              <a:t>федеральной или региональной инновационной площадки: </a:t>
            </a:r>
            <a:r>
              <a:rPr lang="ru-RU" sz="2400" dirty="0" smtClean="0">
                <a:solidFill>
                  <a:srgbClr val="000066"/>
                </a:solidFill>
                <a:latin typeface="Times New Roman" pitchFamily="18" charset="0"/>
                <a:cs typeface="Times New Roman" pitchFamily="18" charset="0"/>
              </a:rPr>
              <a:t>самостоятельно определяют достижение промежуточных результатов по годам, осуществляют ускоренное обучение и другие возможности.</a:t>
            </a:r>
            <a:endParaRPr lang="ru-RU" sz="2400" b="1" dirty="0" smtClean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buNone/>
            </a:pPr>
            <a:r>
              <a:rPr lang="ru-RU" sz="2400" dirty="0" smtClean="0">
                <a:solidFill>
                  <a:srgbClr val="000066"/>
                </a:solidFill>
                <a:latin typeface="Times New Roman" pitchFamily="18" charset="0"/>
                <a:cs typeface="Times New Roman" pitchFamily="18" charset="0"/>
              </a:rPr>
              <a:t>17. Срок получения начального и основного общего образования для лиц, обучающихся по </a:t>
            </a:r>
            <a:r>
              <a:rPr lang="ru-RU" sz="2400" b="1" dirty="0" smtClean="0">
                <a:solidFill>
                  <a:srgbClr val="000066"/>
                </a:solidFill>
                <a:latin typeface="Times New Roman" pitchFamily="18" charset="0"/>
                <a:cs typeface="Times New Roman" pitchFamily="18" charset="0"/>
              </a:rPr>
              <a:t>индивидуальным учебным планам</a:t>
            </a:r>
            <a:r>
              <a:rPr lang="ru-RU" sz="2400" dirty="0" smtClean="0">
                <a:solidFill>
                  <a:srgbClr val="000066"/>
                </a:solidFill>
                <a:latin typeface="Times New Roman" pitchFamily="18" charset="0"/>
                <a:cs typeface="Times New Roman" pitchFamily="18" charset="0"/>
              </a:rPr>
              <a:t>, может быть </a:t>
            </a:r>
            <a:r>
              <a:rPr lang="ru-RU" sz="2400" b="1" dirty="0" smtClean="0">
                <a:solidFill>
                  <a:srgbClr val="000066"/>
                </a:solidFill>
                <a:latin typeface="Times New Roman" pitchFamily="18" charset="0"/>
                <a:cs typeface="Times New Roman" pitchFamily="18" charset="0"/>
              </a:rPr>
              <a:t>сокращен.</a:t>
            </a:r>
          </a:p>
          <a:p>
            <a:pPr>
              <a:buNone/>
            </a:pPr>
            <a:r>
              <a:rPr lang="ru-RU" sz="24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ФГОС НОО: Общий объем аудиторной работы </a:t>
            </a:r>
          </a:p>
          <a:p>
            <a:r>
              <a:rPr lang="ru-RU" sz="24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Минимум  2954 (было 2904) </a:t>
            </a:r>
            <a:r>
              <a:rPr lang="ru-RU" sz="2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на 50 часов больше</a:t>
            </a:r>
          </a:p>
          <a:p>
            <a:r>
              <a:rPr lang="ru-RU" sz="24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Максимум  3190 (было 3345) </a:t>
            </a:r>
            <a:r>
              <a:rPr lang="ru-RU" sz="2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на 150 часов меньше</a:t>
            </a:r>
          </a:p>
          <a:p>
            <a:pPr>
              <a:buNone/>
            </a:pPr>
            <a:r>
              <a:rPr lang="ru-RU" sz="24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ФГОС ООО: Общий объем аудиторной работы</a:t>
            </a:r>
          </a:p>
          <a:p>
            <a:r>
              <a:rPr lang="ru-RU" sz="24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Минимум 5058 (было 5267) </a:t>
            </a:r>
            <a:r>
              <a:rPr lang="ru-RU" sz="2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на 209 часов меньше</a:t>
            </a:r>
          </a:p>
          <a:p>
            <a:r>
              <a:rPr lang="ru-RU" sz="24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Максимум 5549</a:t>
            </a:r>
            <a:r>
              <a:rPr lang="ru-RU" sz="24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4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(было 6020) </a:t>
            </a:r>
            <a:r>
              <a:rPr lang="ru-RU" sz="2400" b="1" i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на 471 час меньше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214282" y="0"/>
            <a:ext cx="864399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7"/>
            <a:ext cx="7886700" cy="492105"/>
          </a:xfrm>
        </p:spPr>
        <p:txBody>
          <a:bodyPr>
            <a:normAutofit/>
          </a:bodyPr>
          <a:lstStyle/>
          <a:p>
            <a:r>
              <a:rPr lang="ru-RU" sz="28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НИКО, 8 класс, октябрь 2021 года</a:t>
            </a:r>
            <a:endParaRPr lang="ru-RU" sz="2800" dirty="0"/>
          </a:p>
        </p:txBody>
      </p:sp>
      <p:pic>
        <p:nvPicPr>
          <p:cNvPr id="307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0" y="928670"/>
            <a:ext cx="9144000" cy="1357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2214554"/>
            <a:ext cx="9144000" cy="44243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365127"/>
            <a:ext cx="7886700" cy="563544"/>
          </a:xfrm>
        </p:spPr>
        <p:txBody>
          <a:bodyPr>
            <a:normAutofit fontScale="90000"/>
          </a:bodyPr>
          <a:lstStyle/>
          <a:p>
            <a:r>
              <a:rPr lang="ru-RU" sz="36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НИКО, 8 класс, октябрь 2021 года</a:t>
            </a:r>
            <a:endParaRPr lang="ru-RU" dirty="0"/>
          </a:p>
        </p:txBody>
      </p:sp>
      <p:pic>
        <p:nvPicPr>
          <p:cNvPr id="409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1" y="928670"/>
            <a:ext cx="9144000" cy="5786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214290"/>
            <a:ext cx="7886700" cy="571504"/>
          </a:xfrm>
        </p:spPr>
        <p:txBody>
          <a:bodyPr>
            <a:normAutofit fontScale="90000"/>
          </a:bodyPr>
          <a:lstStyle/>
          <a:p>
            <a:r>
              <a:rPr lang="ru-RU" sz="36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НИКО, 8 класс, октябрь 2021 года</a:t>
            </a:r>
            <a:endParaRPr lang="ru-RU" dirty="0"/>
          </a:p>
        </p:txBody>
      </p:sp>
      <p:pic>
        <p:nvPicPr>
          <p:cNvPr id="512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0" y="785794"/>
            <a:ext cx="9144000" cy="3181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4000504"/>
            <a:ext cx="9144000" cy="2857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214291"/>
            <a:ext cx="7886700" cy="785818"/>
          </a:xfrm>
        </p:spPr>
        <p:txBody>
          <a:bodyPr>
            <a:noAutofit/>
          </a:bodyPr>
          <a:lstStyle/>
          <a:p>
            <a:pPr algn="ctr"/>
            <a:r>
              <a:rPr lang="ru-RU" sz="24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4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4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Анализ результатов НИКО</a:t>
            </a:r>
            <a:r>
              <a:rPr lang="ru-RU" sz="2400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400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400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ru-RU" sz="24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личностные и </a:t>
            </a:r>
            <a:r>
              <a:rPr lang="ru-RU" sz="2400" b="1" dirty="0" err="1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метапредметные</a:t>
            </a:r>
            <a:r>
              <a:rPr lang="ru-RU" sz="24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 результаты) </a:t>
            </a:r>
            <a:r>
              <a:rPr lang="ru-RU" sz="2400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ru-RU" sz="2400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</a:br>
            <a:endParaRPr lang="ru-RU" sz="2400" dirty="0">
              <a:solidFill>
                <a:srgbClr val="7030A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214282" y="1071546"/>
            <a:ext cx="8643998" cy="5786454"/>
          </a:xfrm>
        </p:spPr>
        <p:txBody>
          <a:bodyPr>
            <a:normAutofit fontScale="92500"/>
          </a:bodyPr>
          <a:lstStyle/>
          <a:p>
            <a:pPr>
              <a:buNone/>
            </a:pPr>
            <a:r>
              <a:rPr lang="ru-RU" sz="2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1. Жизненный успех обеспечивается:  усилиями самого человека, удачными обстоятельствами ……</a:t>
            </a:r>
          </a:p>
          <a:p>
            <a:pPr>
              <a:buNone/>
            </a:pPr>
            <a:r>
              <a:rPr lang="ru-RU" sz="2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2. Ценностные жизненные ориентиры: семья , здоровье, друзья,  образование, любимая работа, финансовое благополучие, наличие собственного комфортабельного жилья, наличие автомобиля, высокое положение на карьерной лестнице, престижная должность;  популярность, слава;  …….</a:t>
            </a:r>
          </a:p>
          <a:p>
            <a:pPr>
              <a:buNone/>
            </a:pPr>
            <a:r>
              <a:rPr lang="ru-RU" sz="2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3. Опыт активной деятельности в жизни школы обеспечивает …..</a:t>
            </a:r>
          </a:p>
          <a:p>
            <a:pPr>
              <a:buNone/>
            </a:pPr>
            <a:r>
              <a:rPr lang="ru-RU" sz="2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4. Критерии выбора будущей профессии : большой доход, интерес к профессии, престижность профессии, возможность карьерного роста</a:t>
            </a:r>
          </a:p>
          <a:p>
            <a:pPr>
              <a:buNone/>
            </a:pPr>
            <a:r>
              <a:rPr lang="ru-RU" sz="2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5. Ответственность за свои решения и поступки, нравственный выбор.</a:t>
            </a:r>
          </a:p>
          <a:p>
            <a:pPr>
              <a:buNone/>
            </a:pPr>
            <a:r>
              <a:rPr lang="ru-RU" sz="2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6. Интерес к мировому природному наследию и знание памятных мест.</a:t>
            </a:r>
          </a:p>
          <a:p>
            <a:pPr>
              <a:buNone/>
            </a:pPr>
            <a:r>
              <a:rPr lang="ru-RU" sz="2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7. Широта интересов к </a:t>
            </a:r>
            <a:r>
              <a:rPr lang="ru-RU" sz="2200" b="1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медиа-персонам</a:t>
            </a:r>
            <a:r>
              <a:rPr lang="ru-RU" sz="2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– круг интересов, осведомленность</a:t>
            </a:r>
          </a:p>
          <a:p>
            <a:pPr>
              <a:buNone/>
            </a:pPr>
            <a:r>
              <a:rPr lang="ru-RU" sz="2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8. Решение проблем личной безопасности. Отношение к детскому </a:t>
            </a:r>
            <a:r>
              <a:rPr lang="ru-RU" sz="2200" b="1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буллингу</a:t>
            </a:r>
            <a:r>
              <a:rPr lang="ru-RU" sz="2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 и </a:t>
            </a:r>
            <a:r>
              <a:rPr lang="ru-RU" sz="2200" b="1" dirty="0" err="1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кибербуллингу</a:t>
            </a:r>
            <a:r>
              <a:rPr lang="ru-RU" sz="2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>
              <a:buNone/>
            </a:pPr>
            <a:r>
              <a:rPr lang="ru-RU" sz="2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9.  Публичность, коммуникабельность и инициативность. Лидерство.</a:t>
            </a:r>
          </a:p>
          <a:p>
            <a:endParaRPr lang="ru-RU" dirty="0"/>
          </a:p>
        </p:txBody>
      </p:sp>
    </p:spTree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 smtClean="0"/>
          </a:p>
        </p:txBody>
      </p:sp>
      <p:pic>
        <p:nvPicPr>
          <p:cNvPr id="25603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>
          <a:xfrm>
            <a:off x="0" y="0"/>
            <a:ext cx="9144000" cy="6858000"/>
          </a:xfrm>
          <a:noFill/>
        </p:spPr>
      </p:pic>
    </p:spTree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333CBAE0-293C-4454-9E9C-E89986AA53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9552" y="116632"/>
            <a:ext cx="8280920" cy="597724"/>
          </a:xfrm>
        </p:spPr>
        <p:txBody>
          <a:bodyPr>
            <a:normAutofit fontScale="90000"/>
          </a:bodyPr>
          <a:lstStyle/>
          <a:p>
            <a:r>
              <a:rPr lang="ru-RU" sz="28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ия обновления содержания и технологий  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F8874C39-B778-4291-B3B7-1F7B0651272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79512" y="764704"/>
            <a:ext cx="8964488" cy="6093296"/>
          </a:xfrm>
        </p:spPr>
        <p:txBody>
          <a:bodyPr>
            <a:normAutofit fontScale="62500" lnSpcReduction="20000"/>
          </a:bodyPr>
          <a:lstStyle/>
          <a:p>
            <a:r>
              <a:rPr lang="ru-RU" sz="38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иентация на универсальные компетенции в разных областях жизнедеятельности.</a:t>
            </a:r>
          </a:p>
          <a:p>
            <a:r>
              <a:rPr lang="ru-RU" sz="38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силение внимания к компетенции творчества (креативности), самовыражения, самоактуализации.</a:t>
            </a:r>
          </a:p>
          <a:p>
            <a:r>
              <a:rPr lang="ru-RU" sz="38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вязь содержания с глобальными вызовами и локальными интересами.</a:t>
            </a:r>
          </a:p>
          <a:p>
            <a:r>
              <a:rPr lang="ru-RU" sz="38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дуктивность (проекты и «продукты») как задача и результат.</a:t>
            </a:r>
          </a:p>
          <a:p>
            <a:r>
              <a:rPr lang="ru-RU" sz="38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пользование социальных сетей, социальных медиа.</a:t>
            </a:r>
          </a:p>
          <a:p>
            <a:r>
              <a:rPr lang="ru-RU" sz="38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циальное проектирование, направленное на решение социально значимых задач местного сообщества, включение актуальной проблематики в содержание программ.</a:t>
            </a:r>
          </a:p>
          <a:p>
            <a:r>
              <a:rPr lang="ru-RU" sz="38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ектная и исследовательская деятельность, ориентированная на работу с «будущим» (</a:t>
            </a:r>
            <a:r>
              <a:rPr lang="ru-RU" sz="3800" b="1" dirty="0" err="1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орсайт</a:t>
            </a:r>
            <a:r>
              <a:rPr lang="ru-RU" sz="38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 – </a:t>
            </a:r>
            <a:r>
              <a:rPr lang="ru-RU" sz="3800" b="1" dirty="0" err="1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фориетационная</a:t>
            </a:r>
            <a:r>
              <a:rPr lang="ru-RU" sz="38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работа</a:t>
            </a:r>
          </a:p>
          <a:p>
            <a:r>
              <a:rPr lang="ru-RU" sz="38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пользование интерактивных образовательных технологий группового социального действия и событийной педагогики (тренинг, игра и др.)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60512645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143001" y="2"/>
          <a:ext cx="121444" cy="161925"/>
        </p:xfrm>
        <a:graphic>
          <a:graphicData uri="http://schemas.openxmlformats.org/presentationml/2006/ole">
            <p:oleObj spid="_x0000_s1026" name="think-cell Slide" r:id="rId23" imgW="0" imgH="0" progId="">
              <p:embed/>
            </p:oleObj>
          </a:graphicData>
        </a:graphic>
      </p:graphicFrame>
      <p:sp>
        <p:nvSpPr>
          <p:cNvPr id="2052" name="Rectangle 5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714612" y="2285993"/>
            <a:ext cx="6039007" cy="1071570"/>
          </a:xfrm>
          <a:prstGeom prst="rect">
            <a:avLst/>
          </a:prstGeom>
          <a:solidFill>
            <a:srgbClr val="EAEAEA"/>
          </a:solidFill>
          <a:ln w="9525">
            <a:solidFill>
              <a:schemeClr val="folHlink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GB" sz="1400" b="1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2053" name="Rectangle 6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786050" y="2214554"/>
            <a:ext cx="6000792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r>
              <a:rPr lang="ru-RU" altLang="ko-KR" sz="2400" dirty="0">
                <a:solidFill>
                  <a:prstClr val="black"/>
                </a:solidFill>
                <a:latin typeface="Arial" charset="0"/>
                <a:ea typeface="Gulim" pitchFamily="34" charset="-127"/>
              </a:rPr>
              <a:t>Учителя работают </a:t>
            </a:r>
            <a:r>
              <a:rPr lang="ru-RU" altLang="ko-KR" sz="2400" dirty="0" smtClean="0">
                <a:solidFill>
                  <a:prstClr val="black"/>
                </a:solidFill>
                <a:latin typeface="Arial" charset="0"/>
                <a:ea typeface="Gulim" pitchFamily="34" charset="-127"/>
              </a:rPr>
              <a:t>в командах</a:t>
            </a:r>
            <a:r>
              <a:rPr lang="ru-RU" altLang="ko-KR" sz="2400" dirty="0">
                <a:solidFill>
                  <a:prstClr val="black"/>
                </a:solidFill>
                <a:latin typeface="Arial" charset="0"/>
                <a:ea typeface="Gulim" pitchFamily="34" charset="-127"/>
              </a:rPr>
              <a:t>, анализируя и разрабатывая </a:t>
            </a:r>
            <a:r>
              <a:rPr lang="ru-RU" altLang="ko-KR" sz="2400" b="1" dirty="0">
                <a:solidFill>
                  <a:prstClr val="black"/>
                </a:solidFill>
                <a:latin typeface="Arial" charset="0"/>
                <a:ea typeface="Gulim" pitchFamily="34" charset="-127"/>
              </a:rPr>
              <a:t>уроки-образцы</a:t>
            </a:r>
            <a:r>
              <a:rPr lang="en-US" altLang="ko-KR" sz="2400" dirty="0">
                <a:solidFill>
                  <a:prstClr val="black"/>
                </a:solidFill>
                <a:latin typeface="Arial" charset="0"/>
                <a:ea typeface="Gulim" pitchFamily="34" charset="-127"/>
              </a:rPr>
              <a:t>. </a:t>
            </a:r>
            <a:endParaRPr lang="en-GB" sz="2400" dirty="0">
              <a:solidFill>
                <a:prstClr val="black"/>
              </a:solidFill>
              <a:latin typeface="Arial" charset="0"/>
              <a:ea typeface="Gulim" pitchFamily="34" charset="-127"/>
            </a:endParaRPr>
          </a:p>
        </p:txBody>
      </p:sp>
      <p:sp>
        <p:nvSpPr>
          <p:cNvPr id="2054" name="Rectangle 7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0" y="2401888"/>
            <a:ext cx="2681289" cy="1243012"/>
          </a:xfrm>
          <a:prstGeom prst="rect">
            <a:avLst/>
          </a:prstGeom>
          <a:solidFill>
            <a:schemeClr val="bg1"/>
          </a:solidFill>
          <a:ln w="9525">
            <a:solidFill>
              <a:schemeClr val="folHlink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GB" sz="1400" b="1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2055" name="Rectangle 8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1000100" y="2428868"/>
            <a:ext cx="678656" cy="220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  <a:buClr>
                <a:srgbClr val="1F497D"/>
              </a:buClr>
            </a:pPr>
            <a:r>
              <a:rPr lang="ru-RU" sz="1400" b="1" dirty="0">
                <a:solidFill>
                  <a:prstClr val="black"/>
                </a:solidFill>
                <a:latin typeface="Arial" charset="0"/>
              </a:rPr>
              <a:t>Япония</a:t>
            </a:r>
            <a:endParaRPr lang="en-GB" sz="1400" b="1" dirty="0">
              <a:solidFill>
                <a:prstClr val="black"/>
              </a:solidFill>
              <a:latin typeface="Arial" charset="0"/>
            </a:endParaRPr>
          </a:p>
        </p:txBody>
      </p:sp>
      <p:pic>
        <p:nvPicPr>
          <p:cNvPr id="2056" name="Picture 9" descr="japan%20flag"/>
          <p:cNvPicPr>
            <a:picLocks noChangeArrowheads="1"/>
          </p:cNvPicPr>
          <p:nvPr>
            <p:custDataLst>
              <p:tags r:id="rId7"/>
            </p:custDataLst>
          </p:nvPr>
        </p:nvPicPr>
        <p:blipFill>
          <a:blip r:embed="rId24" cstate="print"/>
          <a:srcRect/>
          <a:stretch>
            <a:fillRect/>
          </a:stretch>
        </p:blipFill>
        <p:spPr bwMode="gray">
          <a:xfrm>
            <a:off x="500034" y="2714620"/>
            <a:ext cx="1793375" cy="93662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2057" name="Rectangle 10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2857488" y="857232"/>
            <a:ext cx="5909216" cy="1267747"/>
          </a:xfrm>
          <a:prstGeom prst="rect">
            <a:avLst/>
          </a:prstGeom>
          <a:solidFill>
            <a:srgbClr val="EAEAEA"/>
          </a:solidFill>
          <a:ln w="9525">
            <a:solidFill>
              <a:schemeClr val="folHlink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GB" sz="1400" b="1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2058" name="Rectangle 11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2786050" y="928670"/>
            <a:ext cx="6072230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r>
              <a:rPr lang="ru-RU" altLang="ko-KR" sz="2400" dirty="0">
                <a:solidFill>
                  <a:prstClr val="black"/>
                </a:solidFill>
                <a:latin typeface="Arial" charset="0"/>
                <a:ea typeface="Gulim" pitchFamily="34" charset="-127"/>
              </a:rPr>
              <a:t>Учителя должны посещать в качестве </a:t>
            </a:r>
            <a:r>
              <a:rPr lang="ru-RU" altLang="ko-KR" sz="2400" b="1" dirty="0">
                <a:solidFill>
                  <a:prstClr val="black"/>
                </a:solidFill>
                <a:latin typeface="Arial" charset="0"/>
                <a:ea typeface="Gulim" pitchFamily="34" charset="-127"/>
              </a:rPr>
              <a:t>наблюдателей </a:t>
            </a:r>
            <a:r>
              <a:rPr lang="ru-RU" altLang="ko-KR" sz="2400" dirty="0">
                <a:solidFill>
                  <a:prstClr val="black"/>
                </a:solidFill>
                <a:latin typeface="Arial" charset="0"/>
                <a:ea typeface="Gulim" pitchFamily="34" charset="-127"/>
              </a:rPr>
              <a:t>как минимум 8 уроков своих коллег каждую четверть.</a:t>
            </a:r>
            <a:endParaRPr lang="en-GB" sz="2400" dirty="0">
              <a:solidFill>
                <a:prstClr val="black"/>
              </a:solidFill>
              <a:latin typeface="Arial" charset="0"/>
              <a:ea typeface="Gulim" pitchFamily="34" charset="-127"/>
            </a:endParaRPr>
          </a:p>
        </p:txBody>
      </p:sp>
      <p:sp>
        <p:nvSpPr>
          <p:cNvPr id="2059" name="Rectangle 12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285721" y="884018"/>
            <a:ext cx="2403500" cy="1313962"/>
          </a:xfrm>
          <a:prstGeom prst="rect">
            <a:avLst/>
          </a:prstGeom>
          <a:solidFill>
            <a:schemeClr val="bg1"/>
          </a:solidFill>
          <a:ln w="9525">
            <a:solidFill>
              <a:schemeClr val="folHlink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GB" sz="1400" b="1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2060" name="Rectangle 13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571472" y="1000108"/>
            <a:ext cx="1503787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  <a:buClr>
                <a:srgbClr val="1F497D"/>
              </a:buClr>
            </a:pPr>
            <a:r>
              <a:rPr lang="ru-RU" sz="1400" b="1" dirty="0">
                <a:solidFill>
                  <a:prstClr val="black"/>
                </a:solidFill>
                <a:latin typeface="Arial" charset="0"/>
              </a:rPr>
              <a:t>Шанхай, Китай</a:t>
            </a:r>
            <a:endParaRPr lang="en-GB" sz="1400" b="1" dirty="0">
              <a:solidFill>
                <a:prstClr val="black"/>
              </a:solidFill>
              <a:latin typeface="Arial" charset="0"/>
            </a:endParaRPr>
          </a:p>
        </p:txBody>
      </p:sp>
      <p:pic>
        <p:nvPicPr>
          <p:cNvPr id="2061" name="Picture 14" descr="flag%20chinese"/>
          <p:cNvPicPr>
            <a:picLocks noChangeArrowheads="1"/>
          </p:cNvPicPr>
          <p:nvPr>
            <p:custDataLst>
              <p:tags r:id="rId12"/>
            </p:custDataLst>
          </p:nvPr>
        </p:nvPicPr>
        <p:blipFill>
          <a:blip r:embed="rId25" cstate="print"/>
          <a:srcRect/>
          <a:stretch>
            <a:fillRect/>
          </a:stretch>
        </p:blipFill>
        <p:spPr bwMode="gray">
          <a:xfrm>
            <a:off x="500034" y="1357298"/>
            <a:ext cx="1793375" cy="8636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2062" name="Rectangle 15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2714612" y="3571876"/>
            <a:ext cx="6072230" cy="1661993"/>
          </a:xfrm>
          <a:prstGeom prst="rect">
            <a:avLst/>
          </a:prstGeom>
          <a:solidFill>
            <a:srgbClr val="EAEAEA"/>
          </a:solidFill>
          <a:ln w="9525">
            <a:solidFill>
              <a:schemeClr val="folHlink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GB" sz="1400" b="1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2063" name="Rectangle 16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2786050" y="3429000"/>
            <a:ext cx="5967570" cy="1723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  <a:buClr>
                <a:srgbClr val="1F497D"/>
              </a:buClr>
            </a:pPr>
            <a:r>
              <a:rPr lang="ru-RU" sz="28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писание учителей составлено таким образом, чтобы у них было </a:t>
            </a:r>
            <a:r>
              <a:rPr lang="ru-RU" sz="2800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ремя для совместного планирования</a:t>
            </a:r>
            <a:r>
              <a:rPr lang="en-GB" sz="20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endParaRPr lang="en-US" sz="2000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064" name="Rectangle 17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0" y="3857628"/>
            <a:ext cx="2395569" cy="1354137"/>
          </a:xfrm>
          <a:prstGeom prst="rect">
            <a:avLst/>
          </a:prstGeom>
          <a:solidFill>
            <a:schemeClr val="bg1"/>
          </a:solidFill>
          <a:ln w="9525">
            <a:solidFill>
              <a:schemeClr val="folHlink"/>
            </a:solidFill>
            <a:miter lim="800000"/>
            <a:headEnd/>
            <a:tailEnd/>
          </a:ln>
        </p:spPr>
        <p:txBody>
          <a:bodyPr wrap="none" lIns="93296" tIns="46648" rIns="93296" bIns="46648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GB" sz="1400" b="1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2065" name="Rectangle 18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642910" y="3929066"/>
            <a:ext cx="1327547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  <a:buClr>
                <a:srgbClr val="1F497D"/>
              </a:buClr>
            </a:pPr>
            <a:r>
              <a:rPr lang="ru-RU" sz="1400" b="1" dirty="0">
                <a:solidFill>
                  <a:prstClr val="black"/>
                </a:solidFill>
                <a:latin typeface="Arial" charset="0"/>
              </a:rPr>
              <a:t>Бостон</a:t>
            </a:r>
            <a:r>
              <a:rPr lang="en-GB" sz="1400" b="1" dirty="0">
                <a:solidFill>
                  <a:prstClr val="black"/>
                </a:solidFill>
                <a:latin typeface="Arial" charset="0"/>
              </a:rPr>
              <a:t>,</a:t>
            </a:r>
            <a:r>
              <a:rPr lang="ru-RU" sz="1400" b="1" dirty="0">
                <a:solidFill>
                  <a:prstClr val="black"/>
                </a:solidFill>
                <a:latin typeface="Arial" charset="0"/>
              </a:rPr>
              <a:t> США</a:t>
            </a:r>
            <a:endParaRPr lang="en-GB" sz="1400" b="1" dirty="0">
              <a:solidFill>
                <a:prstClr val="black"/>
              </a:solidFill>
              <a:latin typeface="Arial" charset="0"/>
            </a:endParaRPr>
          </a:p>
        </p:txBody>
      </p:sp>
      <p:pic>
        <p:nvPicPr>
          <p:cNvPr id="2066" name="Picture 19"/>
          <p:cNvPicPr preferRelativeResize="0">
            <a:picLocks noChangeArrowheads="1"/>
          </p:cNvPicPr>
          <p:nvPr>
            <p:custDataLst>
              <p:tags r:id="rId17"/>
            </p:custDataLst>
          </p:nvPr>
        </p:nvPicPr>
        <p:blipFill>
          <a:blip r:embed="rId26" cstate="print"/>
          <a:srcRect/>
          <a:stretch>
            <a:fillRect/>
          </a:stretch>
        </p:blipFill>
        <p:spPr bwMode="gray">
          <a:xfrm>
            <a:off x="285720" y="4286256"/>
            <a:ext cx="1793377" cy="80803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pic>
      <p:sp>
        <p:nvSpPr>
          <p:cNvPr id="2067" name="Rectangle 20"/>
          <p:cNvSpPr>
            <a:spLocks noGrp="1" noChangeArrowheads="1"/>
          </p:cNvSpPr>
          <p:nvPr>
            <p:ph type="title"/>
            <p:custDataLst>
              <p:tags r:id="rId18"/>
            </p:custDataLst>
          </p:nvPr>
        </p:nvSpPr>
        <p:spPr bwMode="gray">
          <a:xfrm>
            <a:off x="214282" y="-56270"/>
            <a:ext cx="8715436" cy="940287"/>
          </a:xfrm>
          <a:noFill/>
        </p:spPr>
        <p:txBody>
          <a:bodyPr/>
          <a:lstStyle/>
          <a:p>
            <a:pPr eaLnBrk="1" hangingPunct="1"/>
            <a:r>
              <a:rPr lang="ru-RU" sz="2800" b="1" dirty="0">
                <a:solidFill>
                  <a:srgbClr val="110397"/>
                </a:solidFill>
              </a:rPr>
              <a:t>Профессиональное развитие сфокусировано </a:t>
            </a:r>
            <a:br>
              <a:rPr lang="ru-RU" sz="2800" b="1" dirty="0">
                <a:solidFill>
                  <a:srgbClr val="110397"/>
                </a:solidFill>
              </a:rPr>
            </a:br>
            <a:r>
              <a:rPr lang="ru-RU" sz="2800" b="1" dirty="0">
                <a:solidFill>
                  <a:srgbClr val="110397"/>
                </a:solidFill>
              </a:rPr>
              <a:t>на происходящем в классе</a:t>
            </a:r>
            <a:endParaRPr lang="en-GB" sz="2800" b="1" dirty="0">
              <a:solidFill>
                <a:srgbClr val="110397"/>
              </a:solidFill>
            </a:endParaRPr>
          </a:p>
        </p:txBody>
      </p:sp>
      <p:sp>
        <p:nvSpPr>
          <p:cNvPr id="2069" name="Rectangle 22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214282" y="5286388"/>
            <a:ext cx="4355338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defTabSz="912813" fontAlgn="base">
              <a:spcBef>
                <a:spcPct val="0"/>
              </a:spcBef>
              <a:spcAft>
                <a:spcPct val="0"/>
              </a:spcAft>
            </a:pPr>
            <a:r>
              <a:rPr lang="en-ZA" altLang="ko-KR" sz="1200" dirty="0">
                <a:solidFill>
                  <a:prstClr val="white"/>
                </a:solidFill>
                <a:latin typeface="Arial" charset="0"/>
                <a:ea typeface="Gulim" pitchFamily="34" charset="-127"/>
              </a:rPr>
              <a:t>“</a:t>
            </a:r>
            <a:r>
              <a:rPr lang="ru-RU" altLang="ko-KR" sz="1600" b="1" dirty="0">
                <a:solidFill>
                  <a:srgbClr val="000066"/>
                </a:solidFill>
                <a:latin typeface="Times New Roman" panose="02020603050405020304" pitchFamily="18" charset="0"/>
                <a:ea typeface="Gulim" pitchFamily="34" charset="-127"/>
                <a:cs typeface="Times New Roman" panose="02020603050405020304" pitchFamily="18" charset="0"/>
              </a:rPr>
              <a:t>Учителя, которые  более активно посещают мероприятия по профессиональному развитию</a:t>
            </a:r>
            <a:r>
              <a:rPr lang="en-US" altLang="ko-KR" sz="1600" b="1" dirty="0">
                <a:solidFill>
                  <a:srgbClr val="000066"/>
                </a:solidFill>
                <a:latin typeface="Times New Roman" panose="02020603050405020304" pitchFamily="18" charset="0"/>
                <a:ea typeface="Gulim" pitchFamily="34" charset="-127"/>
                <a:cs typeface="Times New Roman" panose="02020603050405020304" pitchFamily="18" charset="0"/>
              </a:rPr>
              <a:t>, </a:t>
            </a:r>
            <a:r>
              <a:rPr lang="ru-RU" altLang="ko-KR" sz="1600" b="1" dirty="0">
                <a:solidFill>
                  <a:srgbClr val="000066"/>
                </a:solidFill>
                <a:latin typeface="Times New Roman" panose="02020603050405020304" pitchFamily="18" charset="0"/>
                <a:ea typeface="Gulim" pitchFamily="34" charset="-127"/>
                <a:cs typeface="Times New Roman" panose="02020603050405020304" pitchFamily="18" charset="0"/>
              </a:rPr>
              <a:t>с большей вероятностью оказываются вовлеченными в совместное преподавание</a:t>
            </a:r>
            <a:r>
              <a:rPr lang="en-US" altLang="ko-KR" sz="1600" b="1" dirty="0">
                <a:solidFill>
                  <a:srgbClr val="000066"/>
                </a:solidFill>
                <a:latin typeface="Times New Roman" panose="02020603050405020304" pitchFamily="18" charset="0"/>
                <a:ea typeface="Gulim" pitchFamily="34" charset="-127"/>
                <a:cs typeface="Times New Roman" panose="02020603050405020304" pitchFamily="18" charset="0"/>
              </a:rPr>
              <a:t>.”     - </a:t>
            </a:r>
            <a:r>
              <a:rPr lang="en-US" altLang="ko-KR" sz="1600" b="1" dirty="0" err="1">
                <a:solidFill>
                  <a:srgbClr val="000066"/>
                </a:solidFill>
                <a:latin typeface="Times New Roman" panose="02020603050405020304" pitchFamily="18" charset="0"/>
                <a:ea typeface="Gulim" pitchFamily="34" charset="-127"/>
                <a:cs typeface="Times New Roman" panose="02020603050405020304" pitchFamily="18" charset="0"/>
              </a:rPr>
              <a:t>TALIS</a:t>
            </a:r>
            <a:r>
              <a:rPr lang="en-US" altLang="ko-KR" sz="1600" b="1" dirty="0">
                <a:solidFill>
                  <a:srgbClr val="000066"/>
                </a:solidFill>
                <a:latin typeface="Times New Roman" panose="02020603050405020304" pitchFamily="18" charset="0"/>
                <a:ea typeface="Gulim" pitchFamily="34" charset="-127"/>
                <a:cs typeface="Times New Roman" panose="02020603050405020304" pitchFamily="18" charset="0"/>
              </a:rPr>
              <a:t>, 2009</a:t>
            </a:r>
          </a:p>
        </p:txBody>
      </p:sp>
      <p:sp>
        <p:nvSpPr>
          <p:cNvPr id="2070" name="Rectangle 23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4733926" y="5498620"/>
            <a:ext cx="4410074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 defTabSz="912813" fontAlgn="base">
              <a:spcBef>
                <a:spcPct val="0"/>
              </a:spcBef>
              <a:spcAft>
                <a:spcPct val="0"/>
              </a:spcAft>
            </a:pPr>
            <a:r>
              <a:rPr lang="en-US" altLang="ko-KR" sz="1400" b="1" dirty="0">
                <a:solidFill>
                  <a:srgbClr val="000066"/>
                </a:solidFill>
                <a:latin typeface="Times New Roman" panose="02020603050405020304" pitchFamily="18" charset="0"/>
                <a:ea typeface="Gulim" pitchFamily="34" charset="-127"/>
                <a:cs typeface="Times New Roman" panose="02020603050405020304" pitchFamily="18" charset="0"/>
              </a:rPr>
              <a:t>“</a:t>
            </a:r>
            <a:r>
              <a:rPr lang="ru-RU" altLang="ko-KR" sz="1600" b="1" dirty="0">
                <a:solidFill>
                  <a:srgbClr val="000066"/>
                </a:solidFill>
                <a:latin typeface="Times New Roman" panose="02020603050405020304" pitchFamily="18" charset="0"/>
                <a:ea typeface="Gulim" pitchFamily="34" charset="-127"/>
                <a:cs typeface="Times New Roman" panose="02020603050405020304" pitchFamily="18" charset="0"/>
              </a:rPr>
              <a:t>Учителя, которые обмениваются идеями и информацией и координируют свою деятельность с другими учителями, также отмечают  хорошие взаимоотношения между учителями и учащимися в своих школах</a:t>
            </a:r>
            <a:r>
              <a:rPr lang="en-US" altLang="ko-KR" sz="1600" b="1" dirty="0">
                <a:solidFill>
                  <a:srgbClr val="000066"/>
                </a:solidFill>
                <a:latin typeface="Times New Roman" panose="02020603050405020304" pitchFamily="18" charset="0"/>
                <a:ea typeface="Gulim" pitchFamily="34" charset="-127"/>
                <a:cs typeface="Times New Roman" panose="02020603050405020304" pitchFamily="18" charset="0"/>
              </a:rPr>
              <a:t>”   </a:t>
            </a:r>
          </a:p>
        </p:txBody>
      </p:sp>
    </p:spTree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>
            <a:spLocks noChangeArrowheads="1"/>
          </p:cNvSpPr>
          <p:nvPr/>
        </p:nvSpPr>
        <p:spPr bwMode="auto">
          <a:xfrm>
            <a:off x="294968" y="1087284"/>
            <a:ext cx="8209247" cy="523220"/>
          </a:xfrm>
          <a:prstGeom prst="rect">
            <a:avLst/>
          </a:prstGeom>
          <a:gradFill rotWithShape="1">
            <a:gsLst>
              <a:gs pos="0">
                <a:srgbClr val="770000"/>
              </a:gs>
              <a:gs pos="50000">
                <a:srgbClr val="AD0000"/>
              </a:gs>
              <a:gs pos="100000">
                <a:srgbClr val="CE0000"/>
              </a:gs>
            </a:gsLst>
            <a:lin ang="0" scaled="1"/>
          </a:gradFill>
          <a:ln w="9525" algn="ctr">
            <a:noFill/>
            <a:round/>
            <a:headEnd/>
            <a:tailEnd/>
          </a:ln>
        </p:spPr>
        <p:txBody>
          <a:bodyPr/>
          <a:lstStyle/>
          <a:p>
            <a:pPr defTabSz="1042988"/>
            <a:endParaRPr lang="ru-RU" sz="2100" dirty="0"/>
          </a:p>
        </p:txBody>
      </p:sp>
      <p:sp>
        <p:nvSpPr>
          <p:cNvPr id="2071" name="Text Box 23"/>
          <p:cNvSpPr txBox="1">
            <a:spLocks noChangeArrowheads="1"/>
          </p:cNvSpPr>
          <p:nvPr/>
        </p:nvSpPr>
        <p:spPr bwMode="auto">
          <a:xfrm>
            <a:off x="317090" y="1045760"/>
            <a:ext cx="879741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chemeClr val="bg1"/>
                </a:solidFill>
              </a:rPr>
              <a:t>ВАЖНЫЕ УПРАВЛЕНЧЕСКИЕ МЕХАНИЗМЫ:</a:t>
            </a: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7F3A33-6A4A-4395-8324-C6DCD486F135}" type="slidenum">
              <a:rPr lang="ru-RU" smtClean="0">
                <a:solidFill>
                  <a:schemeClr val="bg2">
                    <a:lumMod val="75000"/>
                  </a:schemeClr>
                </a:solidFill>
              </a:rPr>
              <a:pPr/>
              <a:t>59</a:t>
            </a:fld>
            <a:endParaRPr lang="ru-RU" dirty="0">
              <a:solidFill>
                <a:schemeClr val="bg2">
                  <a:lumMod val="75000"/>
                </a:schemeClr>
              </a:solidFill>
            </a:endParaRPr>
          </a:p>
        </p:txBody>
      </p:sp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4091" y="431426"/>
            <a:ext cx="873127" cy="3625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69727" y="252575"/>
            <a:ext cx="1078136" cy="558783"/>
          </a:xfrm>
          <a:prstGeom prst="rect">
            <a:avLst/>
          </a:prstGeom>
        </p:spPr>
      </p:pic>
      <p:sp>
        <p:nvSpPr>
          <p:cNvPr id="38" name="Rectangle 19">
            <a:extLst>
              <a:ext uri="{FF2B5EF4-FFF2-40B4-BE49-F238E27FC236}">
                <a16:creationId xmlns="" xmlns:a16="http://schemas.microsoft.com/office/drawing/2014/main" id="{CCD3FECE-D051-41BC-A490-5E3995E40D4C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3001" y="43934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39" name="Rectangle 20">
            <a:extLst>
              <a:ext uri="{FF2B5EF4-FFF2-40B4-BE49-F238E27FC236}">
                <a16:creationId xmlns="" xmlns:a16="http://schemas.microsoft.com/office/drawing/2014/main" id="{A9C8B59F-3E56-4438-A0E5-FD8D463CA3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143000" y="195590"/>
            <a:ext cx="224742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altLang="ru-RU" sz="1400">
              <a:solidFill>
                <a:srgbClr val="000000"/>
              </a:solidFill>
              <a:latin typeface="Times New Roman CYR" panose="02020603050405020304" pitchFamily="18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400">
                <a:solidFill>
                  <a:srgbClr val="000000"/>
                </a:solidFill>
                <a:latin typeface="Times New Roman CYR" panose="02020603050405020304" pitchFamily="18" charset="0"/>
              </a:rPr>
              <a:t> </a:t>
            </a:r>
            <a:endParaRPr lang="ru-RU" altLang="ru-RU">
              <a:latin typeface="Arial" panose="020B0604020202020204" pitchFamily="34" charset="0"/>
            </a:endParaRPr>
          </a:p>
        </p:txBody>
      </p:sp>
      <p:sp>
        <p:nvSpPr>
          <p:cNvPr id="47" name="Текст 1">
            <a:extLst>
              <a:ext uri="{FF2B5EF4-FFF2-40B4-BE49-F238E27FC236}">
                <a16:creationId xmlns="" xmlns:a16="http://schemas.microsoft.com/office/drawing/2014/main" id="{3E641A0C-C566-45B4-A744-68337F32C3F0}"/>
              </a:ext>
            </a:extLst>
          </p:cNvPr>
          <p:cNvSpPr txBox="1">
            <a:spLocks/>
          </p:cNvSpPr>
          <p:nvPr/>
        </p:nvSpPr>
        <p:spPr>
          <a:xfrm>
            <a:off x="160279" y="1465899"/>
            <a:ext cx="1906646" cy="150018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dirty="0">
              <a:solidFill>
                <a:srgbClr val="FF0000"/>
              </a:solidFill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13B2DC90-C72C-4B15-BBDF-9492B2717CA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5382" y="1613812"/>
            <a:ext cx="7672481" cy="463945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0236347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7158" y="0"/>
            <a:ext cx="8329642" cy="571480"/>
          </a:xfrm>
        </p:spPr>
        <p:txBody>
          <a:bodyPr/>
          <a:lstStyle/>
          <a:p>
            <a:r>
              <a:rPr lang="ru-RU" sz="24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ФГОС основного общего образования Общие положения</a:t>
            </a:r>
            <a:endParaRPr lang="ru-RU" sz="2400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214282" y="642918"/>
            <a:ext cx="8715436" cy="6000792"/>
          </a:xfrm>
        </p:spPr>
        <p:txBody>
          <a:bodyPr/>
          <a:lstStyle/>
          <a:p>
            <a:r>
              <a:rPr lang="ru-RU" sz="2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Учебные предметы </a:t>
            </a:r>
            <a:r>
              <a:rPr lang="ru-RU" sz="2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"Математика", "Информатика", "Физика", "Химия", "Биология" </a:t>
            </a:r>
            <a:r>
              <a:rPr lang="ru-RU" sz="2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сваиваются на базовом и углубленном уровнях;</a:t>
            </a:r>
          </a:p>
          <a:p>
            <a:r>
              <a:rPr lang="ru-RU" sz="2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Срок получения основного общего образования составляет не более пяти лет. </a:t>
            </a:r>
            <a:r>
              <a:rPr lang="ru-RU" sz="2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Для обучающихся с ОВЗ </a:t>
            </a:r>
            <a:r>
              <a:rPr lang="ru-RU" sz="2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ри обучении по АОП срок получения основного общего образования может быть увеличен до шести лет.</a:t>
            </a:r>
          </a:p>
          <a:p>
            <a:r>
              <a:rPr lang="ru-RU" sz="2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рганизация вправе самостоятельно определять </a:t>
            </a:r>
            <a:r>
              <a:rPr lang="ru-RU" sz="2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последовательность модулей и количество часов </a:t>
            </a:r>
            <a:r>
              <a:rPr lang="ru-RU" sz="2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для освоения модулей учебного предмета "Технология" (с учетом возможностей материально-технической базы Организации).</a:t>
            </a:r>
          </a:p>
          <a:p>
            <a:r>
              <a:rPr lang="ru-RU" sz="2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рганизация вправе самостоятельно определять </a:t>
            </a:r>
            <a:r>
              <a:rPr lang="ru-RU" sz="22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последовательность модулей и количество часов </a:t>
            </a:r>
            <a:r>
              <a:rPr lang="ru-RU" sz="22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для освоения модулей учебного предмета "Физическая культура" (с учетом возможностей материально-технической базы Организации и природно-климатических условий региона).</a:t>
            </a:r>
            <a:endParaRPr lang="ru-RU" sz="220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800" dirty="0" smtClean="0"/>
          </a:p>
          <a:p>
            <a:endParaRPr lang="ru-RU" dirty="0"/>
          </a:p>
        </p:txBody>
      </p:sp>
    </p:spTree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4" name="Содержимое 3"/>
          <p:cNvPicPr>
            <a:picLocks noGrp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>
            <a:extLst>
              <a:ext uri="{FF2B5EF4-FFF2-40B4-BE49-F238E27FC236}">
                <a16:creationId xmlns:a16="http://schemas.microsoft.com/office/drawing/2014/main" xmlns="" id="{E40C535C-0FB5-4E0E-AA57-E9FEC087DD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844" y="428604"/>
            <a:ext cx="8786874" cy="6240756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ru-RU" sz="1800" b="1" dirty="0">
                <a:solidFill>
                  <a:srgbClr val="00206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ИКАЗ </a:t>
            </a:r>
            <a:r>
              <a:rPr lang="ru-RU" sz="1800" b="1" dirty="0" err="1">
                <a:solidFill>
                  <a:srgbClr val="00206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Минпросвещения</a:t>
            </a:r>
            <a:r>
              <a:rPr lang="ru-RU" sz="1800" b="1" dirty="0">
                <a:solidFill>
                  <a:srgbClr val="00206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№ 219 и Рособрнадзора № 590 </a:t>
            </a:r>
          </a:p>
          <a:p>
            <a:pPr marL="0" indent="0" algn="ctr">
              <a:buNone/>
            </a:pPr>
            <a:r>
              <a:rPr lang="ru-RU" sz="1800" b="1" dirty="0">
                <a:solidFill>
                  <a:srgbClr val="00206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т 6 мая 2019 года</a:t>
            </a:r>
            <a:endParaRPr lang="ru-RU" sz="1800" dirty="0">
              <a:solidFill>
                <a:srgbClr val="002060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 fontAlgn="base">
              <a:lnSpc>
                <a:spcPct val="100000"/>
              </a:lnSpc>
              <a:buNone/>
            </a:pPr>
            <a:r>
              <a:rPr lang="ru-RU" sz="1400" b="1" dirty="0">
                <a:solidFill>
                  <a:srgbClr val="00206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Б УТВЕРЖДЕНИИ МЕТОДОЛОГИИ И </a:t>
            </a:r>
            <a:endParaRPr lang="ru-RU" sz="1400" b="1" dirty="0" smtClean="0">
              <a:solidFill>
                <a:srgbClr val="002060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 fontAlgn="base">
              <a:lnSpc>
                <a:spcPct val="100000"/>
              </a:lnSpc>
              <a:buNone/>
            </a:pPr>
            <a:r>
              <a:rPr lang="ru-RU" sz="1400" b="1" dirty="0" smtClean="0">
                <a:solidFill>
                  <a:srgbClr val="00206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РИТЕРИЕВ </a:t>
            </a:r>
            <a:r>
              <a:rPr lang="ru-RU" sz="1400" b="1" dirty="0">
                <a:solidFill>
                  <a:srgbClr val="00206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ЦЕНКИ КАЧЕСТВА ОБЩЕГО ОБРАЗОВАНИЯ </a:t>
            </a:r>
            <a:endParaRPr lang="ru-RU" sz="1400" dirty="0">
              <a:solidFill>
                <a:srgbClr val="002060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 algn="ctr" fontAlgn="base">
              <a:lnSpc>
                <a:spcPct val="100000"/>
              </a:lnSpc>
              <a:buNone/>
            </a:pPr>
            <a:r>
              <a:rPr lang="ru-RU" sz="1400" b="1" dirty="0">
                <a:solidFill>
                  <a:srgbClr val="00206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 ОБЩЕОБРАЗОВАТЕЛЬНЫХ ОРГАНИЗАЦИЯХ  НА ОСНОВЕ ПРАКТИКИ МЕЖДУНАРОДНЫХ ИССЛЕДОВАНИЙ КАЧЕСТВА ПОДГОТОВКИ ОБУЧАЮЩИХСЯ</a:t>
            </a:r>
          </a:p>
          <a:p>
            <a:pPr marL="0" indent="0" algn="ctr" fontAlgn="base">
              <a:buNone/>
            </a:pPr>
            <a:endParaRPr lang="ru-RU" sz="1200" dirty="0">
              <a:solidFill>
                <a:srgbClr val="002060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450215" algn="just" fontAlgn="base">
              <a:spcAft>
                <a:spcPts val="995"/>
              </a:spcAft>
            </a:pPr>
            <a:r>
              <a:rPr lang="ru-RU" sz="2000" b="1" dirty="0">
                <a:solidFill>
                  <a:srgbClr val="7030A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«Для обеспечения прорывного улучшения качества образования недостаточно оперировать средними и массовыми показателями. Помимо нацеленности на достижение высоких образовательных результатов в целом или в среднем по стране (региону, муниципалитету, ОО) система образования должна мотивировать каждого обучающегося на максимальную вовлеченность в образовательный процесс, на достижение результатов, важных именно для него, для его развития».</a:t>
            </a:r>
          </a:p>
          <a:p>
            <a:pPr indent="450215" algn="just" fontAlgn="base">
              <a:spcAft>
                <a:spcPts val="995"/>
              </a:spcAft>
            </a:pPr>
            <a:r>
              <a:rPr lang="ru-RU" sz="2000" b="1" dirty="0">
                <a:solidFill>
                  <a:srgbClr val="7030A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«Особый акцент при проведении ВПР в РФ сделан на развитие у образовательных организаций культуры самооценки; работы не предполагают сравнения результатов разных обучающихся между собой, проведения сопоставления между различными образовательными организациями и регионами».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361242224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A855A1B7-7A67-4BE5-B759-EAE0699A53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xmlns="" id="{13FCD885-2C87-46BC-98DC-793D4D6C98C2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021931" y="238884"/>
            <a:ext cx="4833834" cy="4047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4" descr="Алексей Кудрин, глава Счётной палаты">
            <a:extLst>
              <a:ext uri="{FF2B5EF4-FFF2-40B4-BE49-F238E27FC236}">
                <a16:creationId xmlns:a16="http://schemas.microsoft.com/office/drawing/2014/main" xmlns="" id="{655F460B-1DDC-4C2D-8A2F-A2A714D4D5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49087" y="238885"/>
            <a:ext cx="3922847" cy="4047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2" descr="А. Кудрин о проблемах успешности школьников">
            <a:extLst>
              <a:ext uri="{FF2B5EF4-FFF2-40B4-BE49-F238E27FC236}">
                <a16:creationId xmlns:a16="http://schemas.microsoft.com/office/drawing/2014/main" xmlns="" id="{9EECE02E-D774-4C62-9D95-6F4545E3F46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4282" y="4429132"/>
            <a:ext cx="8706679" cy="1932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6216107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307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="" xmlns:p14="http://schemas.microsoft.com/office/powerpoint/2010/main" val="3531909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214291"/>
            <a:ext cx="7886700" cy="428627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800" b="1" dirty="0" smtClean="0">
                <a:solidFill>
                  <a:srgbClr val="7030A0"/>
                </a:solidFill>
                <a:latin typeface="Times New Roman" pitchFamily="18" charset="0"/>
                <a:cs typeface="Times New Roman" pitchFamily="18" charset="0"/>
              </a:rPr>
              <a:t>Отдельные положения ФГОС ООО</a:t>
            </a:r>
            <a:endParaRPr lang="ru-RU" sz="2800" b="1" dirty="0">
              <a:solidFill>
                <a:srgbClr val="7030A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0" y="642918"/>
            <a:ext cx="9144000" cy="6215082"/>
          </a:xfrm>
        </p:spPr>
        <p:txBody>
          <a:bodyPr>
            <a:normAutofit fontScale="77500" lnSpcReduction="20000"/>
          </a:bodyPr>
          <a:lstStyle/>
          <a:p>
            <a:r>
              <a:rPr lang="ru-RU" sz="24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24. Соответствие деятельности Организации требованиям ФГОС </a:t>
            </a:r>
            <a:r>
              <a:rPr lang="ru-RU" sz="24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в части содержания образования </a:t>
            </a:r>
            <a:r>
              <a:rPr lang="ru-RU" sz="24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определяется результатами государственной итоговой аттестации.</a:t>
            </a:r>
            <a:endParaRPr lang="ru-RU" sz="240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2400" b="1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32.2. Программа формирования УУД у обучающихся должна содержать:</a:t>
            </a:r>
            <a:endParaRPr lang="ru-RU" sz="2400" dirty="0" smtClean="0">
              <a:solidFill>
                <a:srgbClr val="0070C0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ü"/>
            </a:pPr>
            <a:r>
              <a:rPr lang="ru-RU" sz="2400" b="1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описание взаимосвязи универсальных учебных действий с содержанием учебных предметов;</a:t>
            </a:r>
            <a:endParaRPr lang="ru-RU" sz="2400" dirty="0" smtClean="0">
              <a:solidFill>
                <a:srgbClr val="0070C0"/>
              </a:solidFill>
              <a:latin typeface="Times New Roman" pitchFamily="18" charset="0"/>
              <a:cs typeface="Times New Roman" pitchFamily="18" charset="0"/>
            </a:endParaRPr>
          </a:p>
          <a:p>
            <a:pPr>
              <a:buFont typeface="Wingdings" pitchFamily="2" charset="2"/>
              <a:buChar char="ü"/>
            </a:pPr>
            <a:r>
              <a:rPr lang="ru-RU" sz="2400" b="1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описание особенностей реализации основных направлений и форм учебно-исследовательской деятельности в рамках урочной и внеурочной деятельности.</a:t>
            </a:r>
            <a:endParaRPr lang="ru-RU" sz="2400" dirty="0" smtClean="0">
              <a:solidFill>
                <a:srgbClr val="0070C0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24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33.1. Для Организаций, в которых языком образования является русский язык, изучение родного языка и родной литературы из числа языков народов Российской Федерации, государственных языков республик Российской Федерации осуществляется при наличии возможностей Организации и по заявлению обучающихся, родителей (законных представителей) несовершеннолетних обучающихся.</a:t>
            </a:r>
          </a:p>
          <a:p>
            <a:r>
              <a:rPr lang="ru-RU" sz="24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Изучение </a:t>
            </a:r>
            <a:r>
              <a:rPr lang="ru-RU" sz="24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второго иностранного языка </a:t>
            </a:r>
            <a:r>
              <a:rPr lang="ru-RU" sz="24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из перечня, предлагаемого Организацией, осуществляется по заявлению обучающихся, родителей  и при наличии в Организации необходимых условий.</a:t>
            </a:r>
            <a:endParaRPr lang="ru-RU" sz="240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r>
              <a:rPr lang="ru-RU" sz="24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При изучении предметной области "Основы духовно-нравственной культуры народов России" по заявлению обучающихся, родителей (законных представителей) несовершеннолетних обучающихся осуществляется выбор одного из учебных курсов (учебных модулей) из перечня, предлагаемого Организацией.</a:t>
            </a:r>
          </a:p>
          <a:p>
            <a:r>
              <a:rPr lang="ru-RU" sz="2400" b="1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Внеурочная деятельность без направлений.</a:t>
            </a:r>
            <a:endParaRPr lang="ru-RU" sz="240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dirty="0" smtClean="0"/>
          </a:p>
          <a:p>
            <a:endParaRPr lang="ru-RU" dirty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932FE7B1-D030-4416-B671-E67365C27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60648"/>
            <a:ext cx="7886700" cy="720080"/>
          </a:xfrm>
        </p:spPr>
        <p:txBody>
          <a:bodyPr>
            <a:normAutofit/>
          </a:bodyPr>
          <a:lstStyle/>
          <a:p>
            <a:pPr algn="ctr"/>
            <a:r>
              <a:rPr lang="ru-RU" sz="2800" b="1" dirty="0">
                <a:solidFill>
                  <a:srgbClr val="7030A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новленные ФГОС НОО и ФГОС ООО</a:t>
            </a:r>
          </a:p>
        </p:txBody>
      </p:sp>
      <p:pic>
        <p:nvPicPr>
          <p:cNvPr id="5" name="Объект 4">
            <a:extLst>
              <a:ext uri="{FF2B5EF4-FFF2-40B4-BE49-F238E27FC236}">
                <a16:creationId xmlns:a16="http://schemas.microsoft.com/office/drawing/2014/main" xmlns="" id="{BE6A9AB4-E882-484B-A5D5-C3C2644CB12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9827" t="36384" r="28087" b="12220"/>
          <a:stretch/>
        </p:blipFill>
        <p:spPr>
          <a:xfrm>
            <a:off x="107504" y="980728"/>
            <a:ext cx="9036496" cy="5688632"/>
          </a:xfrm>
        </p:spPr>
      </p:pic>
    </p:spTree>
    <p:extLst>
      <p:ext uri="{BB962C8B-B14F-4D97-AF65-F5344CB8AC3E}">
        <p14:creationId xmlns="" xmlns:p14="http://schemas.microsoft.com/office/powerpoint/2010/main" val="27229703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rtmL8Yek.ccIg0LYk7c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S58auvV0uT84soyWxsV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It.7lZHUC6RYxsd1DB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8h7_1_z9EqG7ORR1FwI6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HUSK8M40.ZCXgbhj1Zw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R1C1kiu0CEZfryB6LHf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IGLEFT" val="525.125"/>
  <p:tag name="ORIGTOP" val="393.875"/>
  <p:tag name="ORIGHEIGHT" val="70.375"/>
  <p:tag name="ORIGWIDTH" val="113.875"/>
  <p:tag name="THINKCELLSHAPEDONOTDELETE" val="pinEmmY0ivUij07cNhNKlr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X1NRlW5kCLwqThwz2N5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46LJt4DwEihTKA6Y2Ac6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bW_3D15pEWS4d5rp5m1A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L_k0AO9Em.62FdGADK4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KUYGkzZk.WiMlo1HPBU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LjiH8VKkmpkWfYshVXB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CicJ2PtEyZ8aSJYG9lT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vUFjGNC0W0eWW4wGoQA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nU5Iau00KCNrCSg25hE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ue9SVTV0qhUKbZJndwjg"/>
</p:tagLst>
</file>

<file path=ppt/theme/theme1.xml><?xml version="1.0" encoding="utf-8"?>
<a:theme xmlns:a="http://schemas.openxmlformats.org/drawingml/2006/main" name="2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РП</Template>
  <TotalTime>6376</TotalTime>
  <Words>3102</Words>
  <Application>Microsoft Office PowerPoint</Application>
  <PresentationFormat>Экран (4:3)</PresentationFormat>
  <Paragraphs>517</Paragraphs>
  <Slides>62</Slides>
  <Notes>5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2</vt:i4>
      </vt:variant>
    </vt:vector>
  </HeadingPairs>
  <TitlesOfParts>
    <vt:vector size="65" baseType="lpstr">
      <vt:lpstr>23_Тема Office</vt:lpstr>
      <vt:lpstr>1_Тема Office</vt:lpstr>
      <vt:lpstr>think-cell Slide</vt:lpstr>
      <vt:lpstr>  Обновленные ФГОС: новые механизмы повышения качества образования   </vt:lpstr>
      <vt:lpstr>МИНПРОСВЕЩЕНИЯ РОССИИ ПРИКАЗ от 31 мая 2021 г. N 286   «Об утверждении ФГОС начального общего образования»  ПРИКАЗ от 31 мая 2021 г. N 287   «Об утверждении ФГОС основного общего образования»</vt:lpstr>
      <vt:lpstr>Последовательность действий по введению ФГОС</vt:lpstr>
      <vt:lpstr>Слайд 4</vt:lpstr>
      <vt:lpstr>ФГОС начального и основного общего образования  Общие положения</vt:lpstr>
      <vt:lpstr>ФГОС основного общего образования Общие положения</vt:lpstr>
      <vt:lpstr>Слайд 7</vt:lpstr>
      <vt:lpstr>Отдельные положения ФГОС ООО</vt:lpstr>
      <vt:lpstr>Обновленные ФГОС НОО и ФГОС ООО</vt:lpstr>
      <vt:lpstr>Личностные результаты  по направлениям воспитания:</vt:lpstr>
      <vt:lpstr>Планируемые предметные результаты</vt:lpstr>
      <vt:lpstr>Требования к условиям реализации ФГОС</vt:lpstr>
      <vt:lpstr>Статус ФГ в системе результатов по ФГОС</vt:lpstr>
      <vt:lpstr> Приказ Министерства просвещения Российской Федерации и приказ Федеральной службы по надзору в сфере образования и науки от 06.05.2019 № 590/219 (с изменениями от 24.12.2019 № 1718/716)  </vt:lpstr>
      <vt:lpstr>Основная образовательная программа ООО</vt:lpstr>
      <vt:lpstr>ФГОС 2022: ООП ООО</vt:lpstr>
      <vt:lpstr>ФГОС: Рабочая программа учебного предмета</vt:lpstr>
      <vt:lpstr>  Положение  о рабочей программе учебных предметов, учебных курсов </vt:lpstr>
      <vt:lpstr> Положение  о рабочей программе курсов внеурочной деятельности </vt:lpstr>
      <vt:lpstr> ФГОС начального общего образования – Приказ Минобрнауки России от 6 октября 2009 г. N 373  Изменения: 26 ноября 2010 г., 22 сентября 2011 г., 18 декабря 2012 г., 29 декабря 2014 г., 18 мая, 31 декабря 2015 г., 11 декабря 2020 г. </vt:lpstr>
      <vt:lpstr>Структура Рабочей программы воспитания – ФГОС </vt:lpstr>
      <vt:lpstr>!!! Структура РПВ будет изменена к 1 сентября 2022 г.</vt:lpstr>
      <vt:lpstr>ФГОС 2022: ООП ООО</vt:lpstr>
      <vt:lpstr>  ФГОС 2022: ООП ООО   Программа коррекционной работы должна содержать: </vt:lpstr>
      <vt:lpstr>Внеурочная деятельность</vt:lpstr>
      <vt:lpstr>Поддержка введения обновленных ФГОС</vt:lpstr>
      <vt:lpstr>Слайд 27</vt:lpstr>
      <vt:lpstr>Слайд 28</vt:lpstr>
      <vt:lpstr>Слайд 29</vt:lpstr>
      <vt:lpstr>Единое содержание общего образования</vt:lpstr>
      <vt:lpstr>Обновление содержания образования</vt:lpstr>
      <vt:lpstr>Обновление содержания образования</vt:lpstr>
      <vt:lpstr>Слайд 33</vt:lpstr>
      <vt:lpstr>Обновление содержания по обществознанию</vt:lpstr>
      <vt:lpstr>Слайд 35</vt:lpstr>
      <vt:lpstr>Слайд 36</vt:lpstr>
      <vt:lpstr>Проект ФИПИ: Кодификатор по географии 5-9</vt:lpstr>
      <vt:lpstr>Проект ФИПИ: Кодификатор по географии 5-9</vt:lpstr>
      <vt:lpstr>Проект ФИПИ: Кодификатор по географии 5-9</vt:lpstr>
      <vt:lpstr>Проект ФИПИ: Кодификатор по географии 5-9</vt:lpstr>
      <vt:lpstr>Слайд 41</vt:lpstr>
      <vt:lpstr>Универсальный кодификатор.                                       Метапредметные результаты</vt:lpstr>
      <vt:lpstr>Слайд 43</vt:lpstr>
      <vt:lpstr>Слайд 44</vt:lpstr>
      <vt:lpstr>Слайд 45</vt:lpstr>
      <vt:lpstr>Слайд 46</vt:lpstr>
      <vt:lpstr>Слайд 47</vt:lpstr>
      <vt:lpstr>Слайд 48</vt:lpstr>
      <vt:lpstr>НИКО, 6 класс, октябрь 2021 года</vt:lpstr>
      <vt:lpstr>Слайд 50</vt:lpstr>
      <vt:lpstr>Слайд 51</vt:lpstr>
      <vt:lpstr>НИКО, 8 класс, октябрь 2021 года</vt:lpstr>
      <vt:lpstr>НИКО, 8 класс, октябрь 2021 года</vt:lpstr>
      <vt:lpstr>НИКО, 8 класс, октябрь 2021 года</vt:lpstr>
      <vt:lpstr> Анализ результатов НИКО (личностные и метапредметные результаты)  </vt:lpstr>
      <vt:lpstr>Слайд 56</vt:lpstr>
      <vt:lpstr>Направления обновления содержания и технологий  </vt:lpstr>
      <vt:lpstr>Профессиональное развитие сфокусировано  на происходящем в классе</vt:lpstr>
      <vt:lpstr>Слайд 59</vt:lpstr>
      <vt:lpstr>Слайд 60</vt:lpstr>
      <vt:lpstr>Слайд 61</vt:lpstr>
      <vt:lpstr>Слайд 62</vt:lpstr>
    </vt:vector>
  </TitlesOfParts>
  <Company>Home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Надежда</dc:creator>
  <cp:lastModifiedBy>User</cp:lastModifiedBy>
  <cp:revision>546</cp:revision>
  <cp:lastPrinted>1601-01-01T00:00:00Z</cp:lastPrinted>
  <dcterms:created xsi:type="dcterms:W3CDTF">2014-10-01T00:34:48Z</dcterms:created>
  <dcterms:modified xsi:type="dcterms:W3CDTF">2022-09-30T04:24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10900251033</vt:lpwstr>
  </property>
</Properties>
</file>